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notesSlides/notesSlide1.xml" ContentType="application/vnd.openxmlformats-officedocument.presentationml.notesSlide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  <p:sldMasterId id="2147483942" r:id="rId2"/>
    <p:sldMasterId id="2147483972" r:id="rId3"/>
    <p:sldMasterId id="2147483994" r:id="rId4"/>
  </p:sldMasterIdLst>
  <p:notesMasterIdLst>
    <p:notesMasterId r:id="rId31"/>
  </p:notesMasterIdLst>
  <p:handoutMasterIdLst>
    <p:handoutMasterId r:id="rId32"/>
  </p:handoutMasterIdLst>
  <p:sldIdLst>
    <p:sldId id="569" r:id="rId5"/>
    <p:sldId id="1108" r:id="rId6"/>
    <p:sldId id="1109" r:id="rId7"/>
    <p:sldId id="1110" r:id="rId8"/>
    <p:sldId id="1075" r:id="rId9"/>
    <p:sldId id="1113" r:id="rId10"/>
    <p:sldId id="1089" r:id="rId11"/>
    <p:sldId id="1090" r:id="rId12"/>
    <p:sldId id="1092" r:id="rId13"/>
    <p:sldId id="1093" r:id="rId14"/>
    <p:sldId id="1094" r:id="rId15"/>
    <p:sldId id="1095" r:id="rId16"/>
    <p:sldId id="1111" r:id="rId17"/>
    <p:sldId id="1096" r:id="rId18"/>
    <p:sldId id="1097" r:id="rId19"/>
    <p:sldId id="1098" r:id="rId20"/>
    <p:sldId id="1099" r:id="rId21"/>
    <p:sldId id="1101" r:id="rId22"/>
    <p:sldId id="1112" r:id="rId23"/>
    <p:sldId id="1100" r:id="rId24"/>
    <p:sldId id="1105" r:id="rId25"/>
    <p:sldId id="1104" r:id="rId26"/>
    <p:sldId id="1103" r:id="rId27"/>
    <p:sldId id="1102" r:id="rId28"/>
    <p:sldId id="1106" r:id="rId29"/>
    <p:sldId id="1021" r:id="rId30"/>
  </p:sldIdLst>
  <p:sldSz cx="12192000" cy="6858000"/>
  <p:notesSz cx="6858000" cy="9144000"/>
  <p:custShowLst>
    <p:custShow name="Service def - current" id="0">
      <p:sldLst/>
    </p:custShow>
    <p:custShow name="Service def - GST" id="1">
      <p:sldLst/>
    </p:custShow>
    <p:custShow name="Regn - ST" id="2">
      <p:sldLst/>
    </p:custShow>
    <p:custShow name="Regn - GST" id="3">
      <p:sldLst/>
    </p:custShow>
    <p:custShow name="POT - Services" id="4">
      <p:sldLst/>
    </p:custShow>
    <p:custShow name="Loc of supplier or receiver" id="5">
      <p:sldLst/>
    </p:custShow>
    <p:custShow name="ITC restriction - Works contract" id="6">
      <p:sldLst/>
    </p:custShow>
    <p:custShow name="Exports and zero rated supply" id="7">
      <p:sldLst/>
    </p:custShow>
    <p:custShow name="Advances" id="8">
      <p:sldLst/>
    </p:custShow>
    <p:custShow name="Retention money" id="9">
      <p:sldLst/>
    </p:custShow>
    <p:custShow name="GSTR1" id="10">
      <p:sldLst/>
    </p:custShow>
    <p:custShow name="GSTR2" id="11">
      <p:sldLst/>
    </p:custShow>
    <p:custShow name="GSTR3" id="12">
      <p:sldLst/>
    </p:custShow>
    <p:custShow name="GSTR6" id="13">
      <p:sldLst/>
    </p:custShow>
    <p:custShow name="GSTR7" id="14">
      <p:sldLst/>
    </p:custShow>
    <p:custShow name="GSTR9" id="15">
      <p:sldLst/>
    </p:custShow>
  </p:custShowLst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4179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1104" userDrawn="1">
          <p15:clr>
            <a:srgbClr val="A4A3A4"/>
          </p15:clr>
        </p15:guide>
        <p15:guide id="7" orient="horz" pos="1008" userDrawn="1">
          <p15:clr>
            <a:srgbClr val="A4A3A4"/>
          </p15:clr>
        </p15:guide>
        <p15:guide id="8" orient="horz" pos="2448" userDrawn="1">
          <p15:clr>
            <a:srgbClr val="A4A3A4"/>
          </p15:clr>
        </p15:guide>
        <p15:guide id="9" orient="horz" pos="2544" userDrawn="1">
          <p15:clr>
            <a:srgbClr val="A4A3A4"/>
          </p15:clr>
        </p15:guide>
        <p15:guide id="10" orient="horz" pos="336" userDrawn="1">
          <p15:clr>
            <a:srgbClr val="A4A3A4"/>
          </p15:clr>
        </p15:guide>
        <p15:guide id="11" pos="3776" userDrawn="1">
          <p15:clr>
            <a:srgbClr val="A4A3A4"/>
          </p15:clr>
        </p15:guide>
        <p15:guide id="12" pos="448" userDrawn="1">
          <p15:clr>
            <a:srgbClr val="A4A3A4"/>
          </p15:clr>
        </p15:guide>
        <p15:guide id="13" pos="7232" userDrawn="1">
          <p15:clr>
            <a:srgbClr val="A4A3A4"/>
          </p15:clr>
        </p15:guide>
        <p15:guide id="14" pos="3904" userDrawn="1">
          <p15:clr>
            <a:srgbClr val="A4A3A4"/>
          </p15:clr>
        </p15:guide>
        <p15:guide id="15" pos="2624" userDrawn="1">
          <p15:clr>
            <a:srgbClr val="A4A3A4"/>
          </p15:clr>
        </p15:guide>
        <p15:guide id="16" pos="2760" userDrawn="1">
          <p15:clr>
            <a:srgbClr val="A4A3A4"/>
          </p15:clr>
        </p15:guide>
        <p15:guide id="17" pos="5056" userDrawn="1">
          <p15:clr>
            <a:srgbClr val="A4A3A4"/>
          </p15:clr>
        </p15:guide>
        <p15:guide id="18" pos="1472" userDrawn="1">
          <p15:clr>
            <a:srgbClr val="A4A3A4"/>
          </p15:clr>
        </p15:guide>
        <p15:guide id="19" pos="6208" userDrawn="1">
          <p15:clr>
            <a:srgbClr val="A4A3A4"/>
          </p15:clr>
        </p15:guide>
        <p15:guide id="20" pos="6080" userDrawn="1">
          <p15:clr>
            <a:srgbClr val="A4A3A4"/>
          </p15:clr>
        </p15:guide>
        <p15:guide id="21" pos="4928" userDrawn="1">
          <p15:clr>
            <a:srgbClr val="A4A3A4"/>
          </p15:clr>
        </p15:guide>
        <p15:guide id="22" pos="16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Kushal Bansal" initials="KB" lastIdx="1" clrIdx="1">
    <p:extLst>
      <p:ext uri="{19B8F6BF-5375-455C-9EA6-DF929625EA0E}">
        <p15:presenceInfo xmlns:p15="http://schemas.microsoft.com/office/powerpoint/2012/main" userId="S-1-5-21-1627659263-1633030129-919240667-1009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2020"/>
    <a:srgbClr val="DC6900"/>
    <a:srgbClr val="DB536A"/>
    <a:srgbClr val="FFB600"/>
    <a:srgbClr val="E06161"/>
    <a:srgbClr val="FFC000"/>
    <a:srgbClr val="C65853"/>
    <a:srgbClr val="FFA451"/>
    <a:srgbClr val="000000"/>
    <a:srgbClr val="EB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32" autoAdjust="0"/>
    <p:restoredTop sz="98566" autoAdjust="0"/>
  </p:normalViewPr>
  <p:slideViewPr>
    <p:cSldViewPr>
      <p:cViewPr varScale="1">
        <p:scale>
          <a:sx n="69" d="100"/>
          <a:sy n="69" d="100"/>
        </p:scale>
        <p:origin x="894" y="60"/>
      </p:cViewPr>
      <p:guideLst>
        <p:guide orient="horz" pos="144"/>
        <p:guide orient="horz" pos="436"/>
        <p:guide orient="horz" pos="4179"/>
        <p:guide orient="horz" pos="3888"/>
        <p:guide orient="horz" pos="3984"/>
        <p:guide orient="horz" pos="1104"/>
        <p:guide orient="horz" pos="1008"/>
        <p:guide orient="horz" pos="2448"/>
        <p:guide orient="horz" pos="2544"/>
        <p:guide orient="horz" pos="336"/>
        <p:guide pos="3776"/>
        <p:guide pos="448"/>
        <p:guide pos="7232"/>
        <p:guide pos="3904"/>
        <p:guide pos="2624"/>
        <p:guide pos="2760"/>
        <p:guide pos="5056"/>
        <p:guide pos="1472"/>
        <p:guide pos="6208"/>
        <p:guide pos="6080"/>
        <p:guide pos="4928"/>
        <p:guide pos="16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064"/>
    </p:cViewPr>
  </p:sorterViewPr>
  <p:notesViewPr>
    <p:cSldViewPr>
      <p:cViewPr varScale="1">
        <p:scale>
          <a:sx n="56" d="100"/>
          <a:sy n="56" d="100"/>
        </p:scale>
        <p:origin x="2856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05CFF-548C-4E04-B325-CF1209D66BDC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/8/2025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E90EF7-3E10-491C-87C2-59674BB3AAF6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599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smtClean="0"/>
              <a:pPr/>
              <a:t>1/8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98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906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2B61A4F-A767-4A7A-9795-1B30FE7D059A}" type="slidenum">
              <a:rPr lang="en-US"/>
              <a:pPr/>
              <a:t>26</a:t>
            </a:fld>
            <a:endParaRPr lang="en-US"/>
          </a:p>
        </p:txBody>
      </p:sp>
      <p:sp>
        <p:nvSpPr>
          <p:cNvPr id="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73100" y="841375"/>
            <a:ext cx="5969000" cy="3357563"/>
          </a:xfrm>
          <a:ln cap="flat"/>
        </p:spPr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3877" y="4563619"/>
            <a:ext cx="5367447" cy="4049518"/>
          </a:xfrm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027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image" Target="../media/image3.emf"/><Relationship Id="rId5" Type="http://schemas.openxmlformats.org/officeDocument/2006/relationships/tags" Target="../tags/tag60.xml"/><Relationship Id="rId10" Type="http://schemas.openxmlformats.org/officeDocument/2006/relationships/oleObject" Target="../embeddings/oleObject2.bin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4" Type="http://schemas.openxmlformats.org/officeDocument/2006/relationships/tags" Target="../tags/tag116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4" Type="http://schemas.openxmlformats.org/officeDocument/2006/relationships/tags" Target="../tags/tag144.xml"/><Relationship Id="rId9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4" Type="http://schemas.openxmlformats.org/officeDocument/2006/relationships/tags" Target="../tags/tag152.xml"/><Relationship Id="rId9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image" Target="../media/image3.emf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8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4" Type="http://schemas.openxmlformats.org/officeDocument/2006/relationships/tags" Target="../tags/tag207.xml"/><Relationship Id="rId9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5" Type="http://schemas.openxmlformats.org/officeDocument/2006/relationships/tags" Target="../tags/tag216.xml"/><Relationship Id="rId4" Type="http://schemas.openxmlformats.org/officeDocument/2006/relationships/tags" Target="../tags/tag215.xml"/><Relationship Id="rId9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4" Type="http://schemas.openxmlformats.org/officeDocument/2006/relationships/tags" Target="../tags/tag223.xml"/><Relationship Id="rId9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tags" Target="../tags/tag234.xml"/><Relationship Id="rId5" Type="http://schemas.openxmlformats.org/officeDocument/2006/relationships/tags" Target="../tags/tag233.xml"/><Relationship Id="rId4" Type="http://schemas.openxmlformats.org/officeDocument/2006/relationships/tags" Target="../tags/tag23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49.xml"/><Relationship Id="rId10" Type="http://schemas.openxmlformats.org/officeDocument/2006/relationships/tags" Target="../tags/tag254.xml"/><Relationship Id="rId4" Type="http://schemas.openxmlformats.org/officeDocument/2006/relationships/tags" Target="../tags/tag248.xml"/><Relationship Id="rId9" Type="http://schemas.openxmlformats.org/officeDocument/2006/relationships/tags" Target="../tags/tag253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59.xml"/><Relationship Id="rId10" Type="http://schemas.openxmlformats.org/officeDocument/2006/relationships/tags" Target="../tags/tag264.xml"/><Relationship Id="rId4" Type="http://schemas.openxmlformats.org/officeDocument/2006/relationships/tags" Target="../tags/tag258.xml"/><Relationship Id="rId9" Type="http://schemas.openxmlformats.org/officeDocument/2006/relationships/tags" Target="../tags/tag26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tags" Target="../tags/tag27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69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11" Type="http://schemas.openxmlformats.org/officeDocument/2006/relationships/tags" Target="../tags/tag285.xml"/><Relationship Id="rId5" Type="http://schemas.openxmlformats.org/officeDocument/2006/relationships/tags" Target="../tags/tag279.xml"/><Relationship Id="rId10" Type="http://schemas.openxmlformats.org/officeDocument/2006/relationships/tags" Target="../tags/tag284.xml"/><Relationship Id="rId4" Type="http://schemas.openxmlformats.org/officeDocument/2006/relationships/tags" Target="../tags/tag278.xml"/><Relationship Id="rId9" Type="http://schemas.openxmlformats.org/officeDocument/2006/relationships/tags" Target="../tags/tag28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tags" Target="../tags/tag291.xml"/><Relationship Id="rId11" Type="http://schemas.openxmlformats.org/officeDocument/2006/relationships/tags" Target="../tags/tag296.xml"/><Relationship Id="rId5" Type="http://schemas.openxmlformats.org/officeDocument/2006/relationships/tags" Target="../tags/tag290.xml"/><Relationship Id="rId10" Type="http://schemas.openxmlformats.org/officeDocument/2006/relationships/tags" Target="../tags/tag295.xml"/><Relationship Id="rId4" Type="http://schemas.openxmlformats.org/officeDocument/2006/relationships/tags" Target="../tags/tag289.xml"/><Relationship Id="rId9" Type="http://schemas.openxmlformats.org/officeDocument/2006/relationships/tags" Target="../tags/tag29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tags" Target="../tags/tag307.xml"/><Relationship Id="rId5" Type="http://schemas.openxmlformats.org/officeDocument/2006/relationships/tags" Target="../tags/tag301.xml"/><Relationship Id="rId10" Type="http://schemas.openxmlformats.org/officeDocument/2006/relationships/tags" Target="../tags/tag306.xml"/><Relationship Id="rId4" Type="http://schemas.openxmlformats.org/officeDocument/2006/relationships/tags" Target="../tags/tag300.xml"/><Relationship Id="rId9" Type="http://schemas.openxmlformats.org/officeDocument/2006/relationships/tags" Target="../tags/tag30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5" Type="http://schemas.openxmlformats.org/officeDocument/2006/relationships/tags" Target="../tags/tag312.xml"/><Relationship Id="rId4" Type="http://schemas.openxmlformats.org/officeDocument/2006/relationships/tags" Target="../tags/tag311.xml"/><Relationship Id="rId9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5" Type="http://schemas.openxmlformats.org/officeDocument/2006/relationships/tags" Target="../tags/tag320.xml"/><Relationship Id="rId4" Type="http://schemas.openxmlformats.org/officeDocument/2006/relationships/tags" Target="../tags/tag319.xml"/><Relationship Id="rId9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Relationship Id="rId9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5" Type="http://schemas.openxmlformats.org/officeDocument/2006/relationships/tags" Target="../tags/tag336.xml"/><Relationship Id="rId4" Type="http://schemas.openxmlformats.org/officeDocument/2006/relationships/tags" Target="../tags/tag335.xml"/><Relationship Id="rId9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347.xml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5" Type="http://schemas.openxmlformats.org/officeDocument/2006/relationships/tags" Target="../tags/tag344.xml"/><Relationship Id="rId4" Type="http://schemas.openxmlformats.org/officeDocument/2006/relationships/tags" Target="../tags/tag343.xml"/><Relationship Id="rId9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5" Type="http://schemas.openxmlformats.org/officeDocument/2006/relationships/tags" Target="../tags/tag352.xml"/><Relationship Id="rId4" Type="http://schemas.openxmlformats.org/officeDocument/2006/relationships/tags" Target="../tags/tag351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7.xml"/><Relationship Id="rId7" Type="http://schemas.openxmlformats.org/officeDocument/2006/relationships/tags" Target="../tags/tag361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5" Type="http://schemas.openxmlformats.org/officeDocument/2006/relationships/tags" Target="../tags/tag359.xml"/><Relationship Id="rId4" Type="http://schemas.openxmlformats.org/officeDocument/2006/relationships/tags" Target="../tags/tag358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5" Type="http://schemas.openxmlformats.org/officeDocument/2006/relationships/tags" Target="../tags/tag366.xml"/><Relationship Id="rId4" Type="http://schemas.openxmlformats.org/officeDocument/2006/relationships/tags" Target="../tags/tag365.xml"/><Relationship Id="rId9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tags" Target="../tags/tag375.xml"/><Relationship Id="rId5" Type="http://schemas.openxmlformats.org/officeDocument/2006/relationships/tags" Target="../tags/tag374.xml"/><Relationship Id="rId4" Type="http://schemas.openxmlformats.org/officeDocument/2006/relationships/tags" Target="../tags/tag37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tags" Target="../tags/tag381.xml"/><Relationship Id="rId5" Type="http://schemas.openxmlformats.org/officeDocument/2006/relationships/tags" Target="../tags/tag380.xml"/><Relationship Id="rId4" Type="http://schemas.openxmlformats.org/officeDocument/2006/relationships/tags" Target="../tags/tag37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391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tags" Target="../tags/tag389.xml"/><Relationship Id="rId11" Type="http://schemas.openxmlformats.org/officeDocument/2006/relationships/image" Target="../media/image3.emf"/><Relationship Id="rId5" Type="http://schemas.openxmlformats.org/officeDocument/2006/relationships/tags" Target="../tags/tag38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87.xml"/><Relationship Id="rId9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tags" Target="../tags/tag397.xml"/><Relationship Id="rId5" Type="http://schemas.openxmlformats.org/officeDocument/2006/relationships/tags" Target="../tags/tag396.xml"/><Relationship Id="rId4" Type="http://schemas.openxmlformats.org/officeDocument/2006/relationships/tags" Target="../tags/tag395.xml"/><Relationship Id="rId9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3" Type="http://schemas.openxmlformats.org/officeDocument/2006/relationships/tags" Target="../tags/tag402.xml"/><Relationship Id="rId7" Type="http://schemas.openxmlformats.org/officeDocument/2006/relationships/tags" Target="../tags/tag406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tags" Target="../tags/tag40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404.xml"/><Relationship Id="rId10" Type="http://schemas.openxmlformats.org/officeDocument/2006/relationships/tags" Target="../tags/tag409.xml"/><Relationship Id="rId4" Type="http://schemas.openxmlformats.org/officeDocument/2006/relationships/tags" Target="../tags/tag403.xml"/><Relationship Id="rId9" Type="http://schemas.openxmlformats.org/officeDocument/2006/relationships/tags" Target="../tags/tag408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3" Type="http://schemas.openxmlformats.org/officeDocument/2006/relationships/tags" Target="../tags/tag412.xml"/><Relationship Id="rId7" Type="http://schemas.openxmlformats.org/officeDocument/2006/relationships/tags" Target="../tags/tag416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414.xml"/><Relationship Id="rId10" Type="http://schemas.openxmlformats.org/officeDocument/2006/relationships/tags" Target="../tags/tag419.xml"/><Relationship Id="rId4" Type="http://schemas.openxmlformats.org/officeDocument/2006/relationships/tags" Target="../tags/tag413.xml"/><Relationship Id="rId9" Type="http://schemas.openxmlformats.org/officeDocument/2006/relationships/tags" Target="../tags/tag418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427.xml"/><Relationship Id="rId3" Type="http://schemas.openxmlformats.org/officeDocument/2006/relationships/tags" Target="../tags/tag422.xml"/><Relationship Id="rId7" Type="http://schemas.openxmlformats.org/officeDocument/2006/relationships/tags" Target="../tags/tag426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11" Type="http://schemas.openxmlformats.org/officeDocument/2006/relationships/tags" Target="../tags/tag430.xml"/><Relationship Id="rId5" Type="http://schemas.openxmlformats.org/officeDocument/2006/relationships/tags" Target="../tags/tag424.xml"/><Relationship Id="rId10" Type="http://schemas.openxmlformats.org/officeDocument/2006/relationships/tags" Target="../tags/tag429.xml"/><Relationship Id="rId4" Type="http://schemas.openxmlformats.org/officeDocument/2006/relationships/tags" Target="../tags/tag423.xml"/><Relationship Id="rId9" Type="http://schemas.openxmlformats.org/officeDocument/2006/relationships/tags" Target="../tags/tag428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438.xml"/><Relationship Id="rId3" Type="http://schemas.openxmlformats.org/officeDocument/2006/relationships/tags" Target="../tags/tag433.xml"/><Relationship Id="rId7" Type="http://schemas.openxmlformats.org/officeDocument/2006/relationships/tags" Target="../tags/tag437.xml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tags" Target="../tags/tag436.xml"/><Relationship Id="rId5" Type="http://schemas.openxmlformats.org/officeDocument/2006/relationships/tags" Target="../tags/tag435.xml"/><Relationship Id="rId4" Type="http://schemas.openxmlformats.org/officeDocument/2006/relationships/tags" Target="../tags/tag434.xml"/><Relationship Id="rId9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446.xml"/><Relationship Id="rId3" Type="http://schemas.openxmlformats.org/officeDocument/2006/relationships/tags" Target="../tags/tag441.xml"/><Relationship Id="rId7" Type="http://schemas.openxmlformats.org/officeDocument/2006/relationships/tags" Target="../tags/tag445.xml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tags" Target="../tags/tag444.xml"/><Relationship Id="rId5" Type="http://schemas.openxmlformats.org/officeDocument/2006/relationships/tags" Target="../tags/tag443.xml"/><Relationship Id="rId4" Type="http://schemas.openxmlformats.org/officeDocument/2006/relationships/tags" Target="../tags/tag442.xml"/><Relationship Id="rId9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454.xml"/><Relationship Id="rId3" Type="http://schemas.openxmlformats.org/officeDocument/2006/relationships/tags" Target="../tags/tag449.xml"/><Relationship Id="rId7" Type="http://schemas.openxmlformats.org/officeDocument/2006/relationships/tags" Target="../tags/tag453.xml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tags" Target="../tags/tag452.xml"/><Relationship Id="rId5" Type="http://schemas.openxmlformats.org/officeDocument/2006/relationships/tags" Target="../tags/tag451.xml"/><Relationship Id="rId4" Type="http://schemas.openxmlformats.org/officeDocument/2006/relationships/tags" Target="../tags/tag450.xml"/><Relationship Id="rId9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462.xml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tags" Target="../tags/tag460.xml"/><Relationship Id="rId5" Type="http://schemas.openxmlformats.org/officeDocument/2006/relationships/tags" Target="../tags/tag459.xml"/><Relationship Id="rId4" Type="http://schemas.openxmlformats.org/officeDocument/2006/relationships/tags" Target="../tags/tag458.xml"/><Relationship Id="rId9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4.xml"/><Relationship Id="rId1" Type="http://schemas.openxmlformats.org/officeDocument/2006/relationships/tags" Target="../tags/tag46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6.xml"/><Relationship Id="rId1" Type="http://schemas.openxmlformats.org/officeDocument/2006/relationships/tags" Target="../tags/tag465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3" Type="http://schemas.openxmlformats.org/officeDocument/2006/relationships/tags" Target="../tags/tag469.xml"/><Relationship Id="rId7" Type="http://schemas.openxmlformats.org/officeDocument/2006/relationships/tags" Target="../tags/tag473.xml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6" Type="http://schemas.openxmlformats.org/officeDocument/2006/relationships/tags" Target="../tags/tag472.xml"/><Relationship Id="rId5" Type="http://schemas.openxmlformats.org/officeDocument/2006/relationships/tags" Target="../tags/tag471.xml"/><Relationship Id="rId4" Type="http://schemas.openxmlformats.org/officeDocument/2006/relationships/tags" Target="../tags/tag470.xml"/><Relationship Id="rId9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482.xml"/><Relationship Id="rId3" Type="http://schemas.openxmlformats.org/officeDocument/2006/relationships/tags" Target="../tags/tag477.xml"/><Relationship Id="rId7" Type="http://schemas.openxmlformats.org/officeDocument/2006/relationships/tags" Target="../tags/tag481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tags" Target="../tags/tag480.xml"/><Relationship Id="rId5" Type="http://schemas.openxmlformats.org/officeDocument/2006/relationships/tags" Target="../tags/tag479.xml"/><Relationship Id="rId4" Type="http://schemas.openxmlformats.org/officeDocument/2006/relationships/tags" Target="../tags/tag478.xml"/><Relationship Id="rId9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85.xml"/><Relationship Id="rId7" Type="http://schemas.openxmlformats.org/officeDocument/2006/relationships/tags" Target="../tags/tag489.xml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6" Type="http://schemas.openxmlformats.org/officeDocument/2006/relationships/tags" Target="../tags/tag488.xml"/><Relationship Id="rId5" Type="http://schemas.openxmlformats.org/officeDocument/2006/relationships/tags" Target="../tags/tag487.xml"/><Relationship Id="rId4" Type="http://schemas.openxmlformats.org/officeDocument/2006/relationships/tags" Target="../tags/tag486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497.xml"/><Relationship Id="rId3" Type="http://schemas.openxmlformats.org/officeDocument/2006/relationships/tags" Target="../tags/tag492.xml"/><Relationship Id="rId7" Type="http://schemas.openxmlformats.org/officeDocument/2006/relationships/tags" Target="../tags/tag496.xml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6" Type="http://schemas.openxmlformats.org/officeDocument/2006/relationships/tags" Target="../tags/tag49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494.xml"/><Relationship Id="rId10" Type="http://schemas.openxmlformats.org/officeDocument/2006/relationships/tags" Target="../tags/tag499.xml"/><Relationship Id="rId4" Type="http://schemas.openxmlformats.org/officeDocument/2006/relationships/tags" Target="../tags/tag493.xml"/><Relationship Id="rId9" Type="http://schemas.openxmlformats.org/officeDocument/2006/relationships/tags" Target="../tags/tag498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507.xml"/><Relationship Id="rId3" Type="http://schemas.openxmlformats.org/officeDocument/2006/relationships/tags" Target="../tags/tag502.xml"/><Relationship Id="rId7" Type="http://schemas.openxmlformats.org/officeDocument/2006/relationships/tags" Target="../tags/tag506.xml"/><Relationship Id="rId2" Type="http://schemas.openxmlformats.org/officeDocument/2006/relationships/tags" Target="../tags/tag501.xml"/><Relationship Id="rId1" Type="http://schemas.openxmlformats.org/officeDocument/2006/relationships/tags" Target="../tags/tag500.xml"/><Relationship Id="rId6" Type="http://schemas.openxmlformats.org/officeDocument/2006/relationships/tags" Target="../tags/tag50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504.xml"/><Relationship Id="rId10" Type="http://schemas.openxmlformats.org/officeDocument/2006/relationships/tags" Target="../tags/tag509.xml"/><Relationship Id="rId4" Type="http://schemas.openxmlformats.org/officeDocument/2006/relationships/tags" Target="../tags/tag503.xml"/><Relationship Id="rId9" Type="http://schemas.openxmlformats.org/officeDocument/2006/relationships/tags" Target="../tags/tag508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517.xml"/><Relationship Id="rId3" Type="http://schemas.openxmlformats.org/officeDocument/2006/relationships/tags" Target="../tags/tag512.xml"/><Relationship Id="rId7" Type="http://schemas.openxmlformats.org/officeDocument/2006/relationships/tags" Target="../tags/tag516.xml"/><Relationship Id="rId12" Type="http://schemas.openxmlformats.org/officeDocument/2006/relationships/image" Target="../media/image3.emf"/><Relationship Id="rId2" Type="http://schemas.openxmlformats.org/officeDocument/2006/relationships/tags" Target="../tags/tag511.xml"/><Relationship Id="rId1" Type="http://schemas.openxmlformats.org/officeDocument/2006/relationships/tags" Target="../tags/tag510.xml"/><Relationship Id="rId6" Type="http://schemas.openxmlformats.org/officeDocument/2006/relationships/tags" Target="../tags/tag515.xml"/><Relationship Id="rId11" Type="http://schemas.openxmlformats.org/officeDocument/2006/relationships/oleObject" Target="../embeddings/oleObject6.bin"/><Relationship Id="rId5" Type="http://schemas.openxmlformats.org/officeDocument/2006/relationships/tags" Target="../tags/tag51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13.xml"/><Relationship Id="rId9" Type="http://schemas.openxmlformats.org/officeDocument/2006/relationships/tags" Target="../tags/tag5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26021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123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480801" y="92299"/>
            <a:ext cx="491025" cy="51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0508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D5C29859-185E-4B6B-B868-7D1F890262B0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0039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52600"/>
            <a:ext cx="107696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091B238D-51AC-4F11-A4A7-793BBFDE54ED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3923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2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2"/>
            <a:ext cx="107696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A8C5E1B1-716C-4A13-A0A2-DDDD414D078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436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0"/>
            <a:ext cx="107696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75C1CAAA-6BA4-42FB-9FA2-ADA875FAFD52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9955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711202" y="2819400"/>
            <a:ext cx="52831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1"/>
            <a:ext cx="107696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FF19C911-1A7B-461E-ABAE-4E566994E875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850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6820410" y="-3874008"/>
            <a:ext cx="152399" cy="9119616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grpSp>
        <p:nvGrpSpPr>
          <p:cNvPr id="102" name="Group 101"/>
          <p:cNvGrpSpPr>
            <a:grpSpLocks noChangeAspect="1"/>
          </p:cNvGrpSpPr>
          <p:nvPr userDrawn="1"/>
        </p:nvGrpSpPr>
        <p:grpSpPr>
          <a:xfrm>
            <a:off x="1291457" y="5768682"/>
            <a:ext cx="1643044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5020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812801" y="3048000"/>
            <a:ext cx="12192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3" name="Group 31"/>
          <p:cNvGrpSpPr/>
          <p:nvPr/>
        </p:nvGrpSpPr>
        <p:grpSpPr>
          <a:xfrm>
            <a:off x="652115" y="2901698"/>
            <a:ext cx="1613003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grpSp>
        <p:nvGrpSpPr>
          <p:cNvPr id="96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10239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2336800" y="2899978"/>
            <a:ext cx="84328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18" name="Group 32"/>
          <p:cNvGrpSpPr/>
          <p:nvPr userDrawn="1"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36680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000000"/>
                </a:solidFill>
              </a:rPr>
              <a:t>PC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480801" y="79420"/>
            <a:ext cx="491025" cy="51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5070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9855200" y="685802"/>
            <a:ext cx="23368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2336800" y="0"/>
            <a:ext cx="75184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2336800" y="685800"/>
            <a:ext cx="75184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grpSp>
        <p:nvGrpSpPr>
          <p:cNvPr id="11" name="Group 32"/>
          <p:cNvGrpSpPr/>
          <p:nvPr userDrawn="1"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86454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200" y="5867400"/>
            <a:ext cx="10765536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Add legal and copyright disclaimers here.</a:t>
            </a:r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335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62" b="0" i="0">
                <a:solidFill>
                  <a:srgbClr val="003087"/>
                </a:solidFill>
                <a:latin typeface="KPMG Extralight"/>
                <a:cs typeface="KPMG Extralight"/>
              </a:defRPr>
            </a:lvl1pPr>
          </a:lstStyle>
          <a:p>
            <a:endParaRPr lang="en-US"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773CE6CB-700E-4275-9699-BBAF7F399CF1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918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63" y="1952513"/>
            <a:ext cx="10906299" cy="3896958"/>
          </a:xfrm>
        </p:spPr>
        <p:txBody>
          <a:bodyPr tIns="0" bIns="0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21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2" y="6629400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8" y="6430418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64" y="750346"/>
            <a:ext cx="665018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2" y="480517"/>
            <a:ext cx="7536873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6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5" y="6302051"/>
            <a:ext cx="5353396" cy="117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65" y="6115756"/>
            <a:ext cx="2405151" cy="181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68"/>
              </a:lnSpc>
            </a:pPr>
            <a:endParaRPr lang="en-GB" sz="1333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1" y="6425511"/>
            <a:ext cx="3934691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1511" y="6179965"/>
            <a:ext cx="9786851" cy="1172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448810" y="6477000"/>
            <a:ext cx="2036065" cy="152400"/>
          </a:xfrm>
          <a:prstGeom prst="rect">
            <a:avLst/>
          </a:prstGeom>
        </p:spPr>
        <p:txBody>
          <a:bodyPr/>
          <a:lstStyle>
            <a:lvl1pPr>
              <a:defRPr sz="762">
                <a:latin typeface="+mj-lt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lide </a:t>
            </a:r>
            <a:fld id="{9202EEA1-2C5C-4F22-8CA7-F303C1AA195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Slide Number Placeholder 2"/>
          <p:cNvSpPr txBox="1">
            <a:spLocks/>
          </p:cNvSpPr>
          <p:nvPr userDrawn="1"/>
        </p:nvSpPr>
        <p:spPr>
          <a:xfrm>
            <a:off x="9652010" y="6629400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62" dirty="0">
                <a:solidFill>
                  <a:srgbClr val="000000"/>
                </a:solidFill>
                <a:latin typeface="Georgia"/>
              </a:rPr>
              <a:t>Slide </a:t>
            </a:r>
            <a:fld id="{9202EEA1-2C5C-4F22-8CA7-F303C1AA1952}" type="slidenum">
              <a:rPr lang="en-US" sz="762" smtClean="0">
                <a:solidFill>
                  <a:srgbClr val="000000"/>
                </a:solidFill>
                <a:latin typeface="Georgia"/>
              </a:rPr>
              <a:pPr/>
              <a:t>‹#›</a:t>
            </a:fld>
            <a:endParaRPr lang="en-US" sz="762" dirty="0">
              <a:solidFill>
                <a:srgbClr val="000000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39464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63" y="1952513"/>
            <a:ext cx="10906299" cy="3896958"/>
          </a:xfrm>
        </p:spPr>
        <p:txBody>
          <a:bodyPr tIns="0" bIns="0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21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2" y="6611050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8" y="6430418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64" y="750346"/>
            <a:ext cx="665018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2" y="480517"/>
            <a:ext cx="7536873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6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5" y="6302051"/>
            <a:ext cx="5353396" cy="117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65" y="6115756"/>
            <a:ext cx="2405151" cy="181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68"/>
              </a:lnSpc>
            </a:pPr>
            <a:endParaRPr lang="en-GB" sz="1333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1" y="6425511"/>
            <a:ext cx="3934691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1511" y="6179965"/>
            <a:ext cx="9786851" cy="1172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448810" y="6629400"/>
            <a:ext cx="2036065" cy="152400"/>
          </a:xfrm>
          <a:prstGeom prst="rect">
            <a:avLst/>
          </a:prstGeom>
        </p:spPr>
        <p:txBody>
          <a:bodyPr/>
          <a:lstStyle>
            <a:lvl1pPr>
              <a:defRPr sz="762">
                <a:latin typeface="+mj-lt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lide </a:t>
            </a:r>
            <a:fld id="{9202EEA1-2C5C-4F22-8CA7-F303C1AA195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Slide Number Placeholder 2"/>
          <p:cNvSpPr txBox="1">
            <a:spLocks/>
          </p:cNvSpPr>
          <p:nvPr userDrawn="1"/>
        </p:nvSpPr>
        <p:spPr>
          <a:xfrm>
            <a:off x="9652010" y="6629400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62" dirty="0">
                <a:solidFill>
                  <a:srgbClr val="000000"/>
                </a:solidFill>
                <a:latin typeface="Georgia"/>
              </a:rPr>
              <a:t>Slide </a:t>
            </a:r>
            <a:fld id="{9202EEA1-2C5C-4F22-8CA7-F303C1AA1952}" type="slidenum">
              <a:rPr lang="en-US" sz="762" smtClean="0">
                <a:solidFill>
                  <a:srgbClr val="000000"/>
                </a:solidFill>
                <a:latin typeface="Georgia"/>
              </a:rPr>
              <a:pPr/>
              <a:t>‹#›</a:t>
            </a:fld>
            <a:endParaRPr lang="en-US" sz="762" dirty="0">
              <a:solidFill>
                <a:srgbClr val="000000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8794580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63" y="1952513"/>
            <a:ext cx="10906299" cy="3896958"/>
          </a:xfrm>
        </p:spPr>
        <p:txBody>
          <a:bodyPr tIns="0" bIns="0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21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2" y="6629400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8" y="6430418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64" y="750346"/>
            <a:ext cx="665018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2" y="480517"/>
            <a:ext cx="7536873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6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5" y="6302051"/>
            <a:ext cx="5353396" cy="117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65" y="6115756"/>
            <a:ext cx="2405151" cy="181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68"/>
              </a:lnSpc>
            </a:pPr>
            <a:endParaRPr lang="en-GB" sz="1333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1" y="6425511"/>
            <a:ext cx="3934691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1511" y="6179965"/>
            <a:ext cx="9786851" cy="1172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448810" y="6477000"/>
            <a:ext cx="2036065" cy="152400"/>
          </a:xfrm>
          <a:prstGeom prst="rect">
            <a:avLst/>
          </a:prstGeom>
        </p:spPr>
        <p:txBody>
          <a:bodyPr/>
          <a:lstStyle>
            <a:lvl1pPr>
              <a:defRPr sz="762">
                <a:latin typeface="+mj-lt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lide </a:t>
            </a:r>
            <a:fld id="{9202EEA1-2C5C-4F22-8CA7-F303C1AA195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Slide Number Placeholder 2"/>
          <p:cNvSpPr txBox="1">
            <a:spLocks/>
          </p:cNvSpPr>
          <p:nvPr userDrawn="1"/>
        </p:nvSpPr>
        <p:spPr>
          <a:xfrm>
            <a:off x="9652010" y="6629400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62" dirty="0">
                <a:solidFill>
                  <a:srgbClr val="000000"/>
                </a:solidFill>
                <a:latin typeface="Georgia"/>
              </a:rPr>
              <a:t>Slide </a:t>
            </a:r>
            <a:fld id="{9202EEA1-2C5C-4F22-8CA7-F303C1AA1952}" type="slidenum">
              <a:rPr lang="en-US" sz="762" smtClean="0">
                <a:solidFill>
                  <a:srgbClr val="000000"/>
                </a:solidFill>
                <a:latin typeface="Georgia"/>
              </a:rPr>
              <a:pPr/>
              <a:t>‹#›</a:t>
            </a:fld>
            <a:endParaRPr lang="en-US" sz="762" dirty="0">
              <a:solidFill>
                <a:srgbClr val="000000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680057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63" y="1952513"/>
            <a:ext cx="10906299" cy="3896958"/>
          </a:xfrm>
        </p:spPr>
        <p:txBody>
          <a:bodyPr tIns="0" bIns="0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21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2" y="6611050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8" y="6430418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64" y="750346"/>
            <a:ext cx="665018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2" y="480517"/>
            <a:ext cx="7536873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6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5" y="6302051"/>
            <a:ext cx="5353396" cy="117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65" y="6115756"/>
            <a:ext cx="2405151" cy="181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68"/>
              </a:lnSpc>
            </a:pPr>
            <a:endParaRPr lang="en-GB" sz="1333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1" y="6425511"/>
            <a:ext cx="3934691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1511" y="6179965"/>
            <a:ext cx="9786851" cy="1172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448810" y="6629400"/>
            <a:ext cx="2036065" cy="152400"/>
          </a:xfrm>
          <a:prstGeom prst="rect">
            <a:avLst/>
          </a:prstGeom>
        </p:spPr>
        <p:txBody>
          <a:bodyPr/>
          <a:lstStyle>
            <a:lvl1pPr>
              <a:defRPr sz="762">
                <a:latin typeface="+mj-lt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lide </a:t>
            </a:r>
            <a:fld id="{9202EEA1-2C5C-4F22-8CA7-F303C1AA195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Slide Number Placeholder 2"/>
          <p:cNvSpPr txBox="1">
            <a:spLocks/>
          </p:cNvSpPr>
          <p:nvPr userDrawn="1"/>
        </p:nvSpPr>
        <p:spPr>
          <a:xfrm>
            <a:off x="9652010" y="6629400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62" dirty="0">
                <a:solidFill>
                  <a:srgbClr val="000000"/>
                </a:solidFill>
                <a:latin typeface="Georgia"/>
              </a:rPr>
              <a:t>Slide </a:t>
            </a:r>
            <a:fld id="{9202EEA1-2C5C-4F22-8CA7-F303C1AA1952}" type="slidenum">
              <a:rPr lang="en-US" sz="762" smtClean="0">
                <a:solidFill>
                  <a:srgbClr val="000000"/>
                </a:solidFill>
                <a:latin typeface="Georgia"/>
              </a:rPr>
              <a:pPr/>
              <a:t>‹#›</a:t>
            </a:fld>
            <a:endParaRPr lang="en-US" sz="762" dirty="0">
              <a:solidFill>
                <a:srgbClr val="000000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892023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54938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06/05/2019 C:\Users\amitkumarg958\Documents\MPLRS\WebGIS_Traning_Material\training material\Bhumi_Bandhak_Moduke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2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28977337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54938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06/05/2019 C:\Users\amitkumarg958\Documents\MPLRS\WebGIS_Traning_Material\training material\Bhumi_Bandhak_Moduke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2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0182230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2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dirty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90910" y="3299961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84708" y="3574280"/>
            <a:ext cx="1720688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endParaRPr lang="en-GB" sz="882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90910" y="3840533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882" i="1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3171487"/>
            <a:ext cx="1702398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232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2"/>
            <a:ext cx="5283200" cy="441959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2" y="1752600"/>
            <a:ext cx="5283199" cy="4419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6972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10948595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  <a:lvl6pPr>
              <a:defRPr sz="1412" baseline="0"/>
            </a:lvl6pPr>
            <a:lvl7pPr>
              <a:buAutoNum type="alphaLcPeriod"/>
              <a:defRPr sz="1412"/>
            </a:lvl7pPr>
            <a:lvl8pPr>
              <a:buAutoNum type="romanLcPeriod"/>
              <a:defRPr sz="1412"/>
            </a:lvl8pPr>
            <a:lvl9pPr>
              <a:defRPr sz="1412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0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3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9" name="Straight Connector 3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3508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1100" y="1815353"/>
            <a:ext cx="53860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50790" y="1815353"/>
            <a:ext cx="53887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1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3734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2" y="1815353"/>
            <a:ext cx="7246204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17654" y="1815353"/>
            <a:ext cx="3521852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41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3365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5389581" cy="2084294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49925" y="1815353"/>
            <a:ext cx="5389581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0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65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66" name="Straight Connector 6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6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7" name="Presentation 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1654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90911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49925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90911" y="3294530"/>
            <a:ext cx="10948595" cy="2823882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5639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90911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49925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49925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5694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7045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9844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6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3595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8265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34"/>
          </p:nvPr>
        </p:nvSpPr>
        <p:spPr>
          <a:xfrm>
            <a:off x="590911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Content Placeholder 6"/>
          <p:cNvSpPr>
            <a:spLocks noGrp="1"/>
          </p:cNvSpPr>
          <p:nvPr>
            <p:ph sz="quarter" idx="35"/>
          </p:nvPr>
        </p:nvSpPr>
        <p:spPr>
          <a:xfrm>
            <a:off x="4298265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36"/>
          </p:nvPr>
        </p:nvSpPr>
        <p:spPr>
          <a:xfrm>
            <a:off x="8005619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5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34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3990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18310004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25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741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1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711200" y="1752602"/>
            <a:ext cx="3454400" cy="441959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368802" y="1752602"/>
            <a:ext cx="3454399" cy="441959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1752602"/>
            <a:ext cx="3454400" cy="441959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6025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7115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, Header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7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0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5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3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6110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5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93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54938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2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5558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13514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8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0"/>
            <a:ext cx="7204363" cy="52094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6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4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4435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2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dirty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2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642851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642851" y="3566160"/>
            <a:ext cx="1662545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endParaRPr lang="en-GB" sz="882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882" i="1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3170816"/>
            <a:ext cx="1662545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34"/>
          <p:cNvSpPr>
            <a:spLocks noGrp="1"/>
          </p:cNvSpPr>
          <p:nvPr>
            <p:ph sz="quarter" idx="10" hasCustomPrompt="1"/>
            <p:custDataLst>
              <p:tags r:id="rId9"/>
            </p:custDataLst>
          </p:nvPr>
        </p:nvSpPr>
        <p:spPr>
          <a:xfrm>
            <a:off x="642851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37472583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344786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8035637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651970" y="6430385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48296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29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1509" y="6297083"/>
            <a:ext cx="535339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642849" y="6115722"/>
            <a:ext cx="2405150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dirty="0">
              <a:solidFill>
                <a:srgbClr val="000000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7736" y="6301293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3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1509" y="6179934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184669" y="6420543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dirty="0">
              <a:solidFill>
                <a:srgbClr val="000000"/>
              </a:solidFill>
            </a:endParaRP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61818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28102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642852" y="1952513"/>
            <a:ext cx="10906298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461818" y="941294"/>
            <a:ext cx="11083639" cy="15329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31769" y="750347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457464" y="467958"/>
            <a:ext cx="8083944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r>
              <a:rPr lang="en-US" sz="88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882" dirty="0">
              <a:solidFill>
                <a:srgbClr val="000000"/>
              </a:solidFill>
            </a:endParaRP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44822" y="6259473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642851" y="6407671"/>
            <a:ext cx="36576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644821" y="6113049"/>
            <a:ext cx="10769600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9986357" y="6261625"/>
            <a:ext cx="1555796" cy="244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544230" y="6408951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69" y="6312331"/>
            <a:ext cx="365760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65947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Slide </a:t>
            </a:r>
            <a:fld id="{17908E02-CB60-4BDF-84BB-0EDAF4DAA419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1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7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PricewaterhouseCoopers Private Limited</a:t>
            </a:r>
          </a:p>
        </p:txBody>
      </p:sp>
    </p:spTree>
    <p:extLst>
      <p:ext uri="{BB962C8B-B14F-4D97-AF65-F5344CB8AC3E}">
        <p14:creationId xmlns:p14="http://schemas.microsoft.com/office/powerpoint/2010/main" val="402855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642852" y="1952513"/>
            <a:ext cx="10906298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461818" y="941294"/>
            <a:ext cx="11083639" cy="15329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31769" y="750347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457464" y="467958"/>
            <a:ext cx="8083944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r>
              <a:rPr lang="en-US" sz="88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882" dirty="0">
              <a:solidFill>
                <a:srgbClr val="000000"/>
              </a:solidFill>
            </a:endParaRP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44822" y="6259473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642851" y="6407671"/>
            <a:ext cx="36576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644821" y="6113049"/>
            <a:ext cx="10769600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9986357" y="6261625"/>
            <a:ext cx="1555796" cy="244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544230" y="6408951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69" y="6312331"/>
            <a:ext cx="365760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1805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3352800"/>
            <a:ext cx="5283200" cy="28194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0" y="3352800"/>
            <a:ext cx="5283201" cy="28194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10769600" cy="14478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5841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0" cy="914400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1" y="1752603"/>
            <a:ext cx="5283200" cy="4419599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2" y="1752600"/>
            <a:ext cx="5283199" cy="44196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11201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8203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9093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642852" y="1952513"/>
            <a:ext cx="10906298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461818" y="941294"/>
            <a:ext cx="11083639" cy="15329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31769" y="750347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457464" y="467958"/>
            <a:ext cx="8083944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r>
              <a:rPr lang="en-US" sz="88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882" dirty="0">
              <a:solidFill>
                <a:srgbClr val="000000"/>
              </a:solidFill>
            </a:endParaRP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44822" y="6259473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642851" y="6407671"/>
            <a:ext cx="36576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644821" y="6113049"/>
            <a:ext cx="10769600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9986357" y="6261625"/>
            <a:ext cx="1555796" cy="244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544230" y="6408951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69" y="6312331"/>
            <a:ext cx="365760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765"/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64537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Logo with Panels"/>
          <p:cNvGrpSpPr/>
          <p:nvPr userDrawn="1"/>
        </p:nvGrpSpPr>
        <p:grpSpPr>
          <a:xfrm>
            <a:off x="1370144" y="0"/>
            <a:ext cx="10821856" cy="6457244"/>
            <a:chOff x="1130368" y="0"/>
            <a:chExt cx="8928031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 bwMode="white">
          <a:xfrm>
            <a:off x="2493113" y="1946623"/>
            <a:ext cx="7204364" cy="782265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 (use this layout if subtitle needs three lines and your Title needs two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493113" y="1112679"/>
            <a:ext cx="7204364" cy="80682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642852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642851" y="3566161"/>
            <a:ext cx="1662546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882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 bwMode="white">
          <a:xfrm>
            <a:off x="642852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3" name="Descriptor"/>
          <p:cNvSpPr txBox="1"/>
          <p:nvPr userDrawn="1">
            <p:custDataLst>
              <p:tags r:id="rId6"/>
            </p:custDataLst>
          </p:nvPr>
        </p:nvSpPr>
        <p:spPr bwMode="white">
          <a:xfrm>
            <a:off x="2493818" y="742278"/>
            <a:ext cx="6412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882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461818" y="3171487"/>
            <a:ext cx="1662546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2308284" y="3167623"/>
            <a:ext cx="8145369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8777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2" y="1952513"/>
            <a:ext cx="10906298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sp>
        <p:nvSpPr>
          <p:cNvPr id="17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4808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5364480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952513"/>
            <a:ext cx="53644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3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40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41" name="Executive Summary"/>
          <p:cNvSpPr txBox="1"/>
          <p:nvPr userDrawn="1">
            <p:custDataLst>
              <p:tags r:id="rId7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42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35055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2" y="1952513"/>
            <a:ext cx="7204364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8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5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6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7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9" name="Executive Summary"/>
          <p:cNvSpPr txBox="1"/>
          <p:nvPr userDrawn="1">
            <p:custDataLst>
              <p:tags r:id="rId7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0861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344786" y="1952513"/>
            <a:ext cx="7204364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5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6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7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9" name="Executive Summary"/>
          <p:cNvSpPr txBox="1"/>
          <p:nvPr userDrawn="1">
            <p:custDataLst>
              <p:tags r:id="rId7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14926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1" y="3969572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4669" y="1952513"/>
            <a:ext cx="5364480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7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9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1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10902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Insert banner statement her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642851" y="1952513"/>
            <a:ext cx="5364480" cy="38969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6184669" y="1952513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6184669" y="3969572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1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3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70208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344786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8035638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6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9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4810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8026400" y="1752600"/>
            <a:ext cx="3454400" cy="2133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4038600"/>
            <a:ext cx="3454400" cy="2133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7112000" cy="4419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3452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952513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952513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3969572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3969572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6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9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3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2472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642852" y="1952513"/>
            <a:ext cx="10906298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42851" y="3969572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6184669" y="3969572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1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01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642849" y="1952513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84669" y="1952513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642697" y="3969572"/>
            <a:ext cx="10906298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1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5433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952513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341899" y="1952513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8035638" y="1952513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42851" y="3969572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4341899" y="3969572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8035638" y="3969572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9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3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31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2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9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41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0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3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77289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4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5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6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7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9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99513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18572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9074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642852" y="1008529"/>
            <a:ext cx="10906298" cy="403412"/>
          </a:xfrm>
        </p:spPr>
        <p:txBody>
          <a:bodyPr wrap="none" tIns="0" bIns="0" anchor="t"/>
          <a:lstStyle>
            <a:lvl1pPr marL="0" indent="0">
              <a:buNone/>
              <a:defRPr sz="2824" b="0" i="0">
                <a:solidFill>
                  <a:schemeClr val="tx1"/>
                </a:solidFill>
                <a:latin typeface="+mj-lt"/>
              </a:defRPr>
            </a:lvl1pPr>
            <a:lvl2pPr marL="44950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99010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3pPr>
            <a:lvl4pPr marL="1348516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4pPr>
            <a:lvl5pPr marL="1798021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5pPr>
            <a:lvl6pPr marL="2247527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6pPr>
            <a:lvl7pPr marL="2697032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7pPr>
            <a:lvl8pPr marL="3146538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8pPr>
            <a:lvl9pPr marL="3596043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Section Divider style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2852" y="1420011"/>
            <a:ext cx="10906298" cy="434509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2" y="201706"/>
            <a:ext cx="1939636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dirty="0"/>
              <a:t>Slide Tags</a:t>
            </a:r>
          </a:p>
        </p:txBody>
      </p:sp>
      <p:sp>
        <p:nvSpPr>
          <p:cNvPr id="8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1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04413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642852" y="1008529"/>
            <a:ext cx="10906298" cy="403412"/>
          </a:xfrm>
        </p:spPr>
        <p:txBody>
          <a:bodyPr wrap="none" tIns="0" bIns="0" anchor="t"/>
          <a:lstStyle>
            <a:lvl1pPr marL="0" indent="0">
              <a:buNone/>
              <a:defRPr sz="2824" b="0" i="0">
                <a:solidFill>
                  <a:schemeClr val="tx1"/>
                </a:solidFill>
                <a:latin typeface="+mj-lt"/>
              </a:defRPr>
            </a:lvl1pPr>
            <a:lvl2pPr marL="44950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99010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3pPr>
            <a:lvl4pPr marL="1348516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4pPr>
            <a:lvl5pPr marL="1798021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5pPr>
            <a:lvl6pPr marL="2247527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6pPr>
            <a:lvl7pPr marL="2697032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7pPr>
            <a:lvl8pPr marL="3146538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8pPr>
            <a:lvl9pPr marL="3596043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Appendix Divider style</a:t>
            </a:r>
          </a:p>
        </p:txBody>
      </p:sp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2852" y="1420011"/>
            <a:ext cx="10906298" cy="434509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2" y="201706"/>
            <a:ext cx="1939636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dirty="0"/>
              <a:t>Slide Tags</a:t>
            </a:r>
          </a:p>
        </p:txBody>
      </p:sp>
      <p:sp>
        <p:nvSpPr>
          <p:cNvPr id="9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1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3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9468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370144" y="0"/>
            <a:ext cx="10821856" cy="6457244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 bwMode="white">
          <a:xfrm>
            <a:off x="2493113" y="1944447"/>
            <a:ext cx="7204364" cy="782265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 (use this layout if subtitle needs three lines and your Title needs two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493113" y="1112679"/>
            <a:ext cx="7204364" cy="80682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642852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642851" y="3566161"/>
            <a:ext cx="1662546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882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 bwMode="white">
          <a:xfrm>
            <a:off x="642852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3" name="Descriptor"/>
          <p:cNvSpPr txBox="1"/>
          <p:nvPr userDrawn="1">
            <p:custDataLst>
              <p:tags r:id="rId6"/>
            </p:custDataLst>
          </p:nvPr>
        </p:nvSpPr>
        <p:spPr bwMode="white">
          <a:xfrm>
            <a:off x="2493818" y="742278"/>
            <a:ext cx="6412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882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461818" y="3170817"/>
            <a:ext cx="1662546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642852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  <p:sp>
        <p:nvSpPr>
          <p:cNvPr id="36" name="Cover image"/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2308284" y="3167623"/>
            <a:ext cx="8145369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262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0"/>
            <a:ext cx="3454400" cy="2133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4038600"/>
            <a:ext cx="3454400" cy="2133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368800" y="1752600"/>
            <a:ext cx="7112000" cy="4419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4"/>
          <p:cNvSpPr>
            <a:spLocks noGrp="1"/>
          </p:cNvSpPr>
          <p:nvPr>
            <p:ph type="sldNum" sz="quarter" idx="19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A0578F7C-3141-4F16-9CF9-21C50ED04B7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8161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Logo with Panels"/>
          <p:cNvGrpSpPr/>
          <p:nvPr userDrawn="1"/>
        </p:nvGrpSpPr>
        <p:grpSpPr>
          <a:xfrm>
            <a:off x="1370144" y="5640896"/>
            <a:ext cx="1476347" cy="816350"/>
            <a:chOff x="3835013" y="2828854"/>
            <a:chExt cx="1217986" cy="925197"/>
          </a:xfrm>
        </p:grpSpPr>
        <p:grpSp>
          <p:nvGrpSpPr>
            <p:cNvPr id="47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51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9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72" name="Frame Line"/>
          <p:cNvCxnSpPr/>
          <p:nvPr userDrawn="1"/>
        </p:nvCxnSpPr>
        <p:spPr>
          <a:xfrm flipV="1">
            <a:off x="2309091" y="1006542"/>
            <a:ext cx="9230734" cy="136460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>
          <a:xfrm>
            <a:off x="2493113" y="1944444"/>
            <a:ext cx="7204364" cy="806824"/>
          </a:xfrm>
        </p:spPr>
        <p:txBody>
          <a:bodyPr tIns="0" bIns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tx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 (move higher if title is only one line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2493113" y="1112679"/>
            <a:ext cx="7204364" cy="80682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642852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642851" y="3566161"/>
            <a:ext cx="1662546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882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6"/>
            </p:custDataLst>
          </p:nvPr>
        </p:nvSpPr>
        <p:spPr>
          <a:xfrm>
            <a:off x="2493818" y="742278"/>
            <a:ext cx="6412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882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cxnSp>
        <p:nvCxnSpPr>
          <p:cNvPr id="26" name="Frame Line"/>
          <p:cNvCxnSpPr/>
          <p:nvPr userDrawn="1"/>
        </p:nvCxnSpPr>
        <p:spPr>
          <a:xfrm flipV="1">
            <a:off x="461818" y="3170817"/>
            <a:ext cx="1662546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00254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370144" y="0"/>
            <a:ext cx="10821856" cy="6457244"/>
            <a:chOff x="1130368" y="0"/>
            <a:chExt cx="8928032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2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3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24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 bwMode="white">
          <a:xfrm>
            <a:off x="2493113" y="1944444"/>
            <a:ext cx="7204364" cy="806824"/>
          </a:xfrm>
        </p:spPr>
        <p:txBody>
          <a:bodyPr tIns="0" bIns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 (move higher if title is only one line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493113" y="1112679"/>
            <a:ext cx="7204364" cy="80682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642852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642851" y="3566161"/>
            <a:ext cx="1662546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882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 </a:t>
            </a:r>
          </a:p>
        </p:txBody>
      </p:sp>
      <p:sp>
        <p:nvSpPr>
          <p:cNvPr id="21" name="Report Date"/>
          <p:cNvSpPr txBox="1"/>
          <p:nvPr userDrawn="1">
            <p:custDataLst>
              <p:tags r:id="rId5"/>
            </p:custDataLst>
          </p:nvPr>
        </p:nvSpPr>
        <p:spPr bwMode="white">
          <a:xfrm>
            <a:off x="642852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b="0" i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16" name="Descriptor"/>
          <p:cNvSpPr txBox="1"/>
          <p:nvPr userDrawn="1">
            <p:custDataLst>
              <p:tags r:id="rId6"/>
            </p:custDataLst>
          </p:nvPr>
        </p:nvSpPr>
        <p:spPr bwMode="white">
          <a:xfrm>
            <a:off x="2493818" y="742278"/>
            <a:ext cx="6412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882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61818" y="3170817"/>
            <a:ext cx="1662546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94482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0" cy="914400"/>
          </a:xfrm>
        </p:spPr>
        <p:txBody>
          <a:bodyPr/>
          <a:lstStyle>
            <a:lvl1pPr>
              <a:defRPr sz="3177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200" y="5867400"/>
            <a:ext cx="6400800" cy="762000"/>
          </a:xfrm>
        </p:spPr>
        <p:txBody>
          <a:bodyPr anchor="b"/>
          <a:lstStyle>
            <a:lvl1pPr>
              <a:defRPr sz="882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Add legal and copyright disclaimers here.</a:t>
            </a:r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8205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74725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4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2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90910" y="3299961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84708" y="3574280"/>
            <a:ext cx="1720688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90910" y="3840533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3171487"/>
            <a:ext cx="1702398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9179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10948595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  <a:lvl6pPr>
              <a:defRPr sz="1412" baseline="0"/>
            </a:lvl6pPr>
            <a:lvl7pPr>
              <a:buAutoNum type="alphaLcPeriod"/>
              <a:defRPr sz="1412"/>
            </a:lvl7pPr>
            <a:lvl8pPr>
              <a:buAutoNum type="romanLcPeriod"/>
              <a:defRPr sz="1412"/>
            </a:lvl8pPr>
            <a:lvl9pPr>
              <a:defRPr sz="1412"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0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2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2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171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1100" y="1815353"/>
            <a:ext cx="53860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50790" y="1815353"/>
            <a:ext cx="53887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1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8105194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2" y="1815353"/>
            <a:ext cx="7246204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17654" y="1815353"/>
            <a:ext cx="3521852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  <p:sp>
        <p:nvSpPr>
          <p:cNvPr id="41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9539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5389581" cy="2084294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49925" y="1815353"/>
            <a:ext cx="5389581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0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65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66" name="Straight Connector 6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6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359901789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90911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49925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90911" y="3294530"/>
            <a:ext cx="10948595" cy="2823882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76586830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90911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49925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49925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3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43038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8800" y="685800"/>
            <a:ext cx="7112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368800" y="1752600"/>
            <a:ext cx="7112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34544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ext styles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7747002" y="-2971800"/>
            <a:ext cx="152399" cy="73152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3"/>
          <p:cNvSpPr>
            <a:spLocks noGrp="1"/>
          </p:cNvSpPr>
          <p:nvPr>
            <p:ph type="sldNum" sz="quarter" idx="19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A110C223-18A3-435B-BA75-687AEBD9C74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2435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7045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9844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6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26328231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8265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34"/>
          </p:nvPr>
        </p:nvSpPr>
        <p:spPr>
          <a:xfrm>
            <a:off x="590911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Content Placeholder 6"/>
          <p:cNvSpPr>
            <a:spLocks noGrp="1"/>
          </p:cNvSpPr>
          <p:nvPr>
            <p:ph sz="quarter" idx="35"/>
          </p:nvPr>
        </p:nvSpPr>
        <p:spPr>
          <a:xfrm>
            <a:off x="4298265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36"/>
          </p:nvPr>
        </p:nvSpPr>
        <p:spPr>
          <a:xfrm>
            <a:off x="8005619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5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4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9040328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8014278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5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4128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322332255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, Header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7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0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5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1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8703514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1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1796407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54938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2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33253399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13514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8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0"/>
            <a:ext cx="7204363" cy="52094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4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1652752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4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2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32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642851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642851" y="3566160"/>
            <a:ext cx="1662545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3170816"/>
            <a:ext cx="1662545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34"/>
          <p:cNvSpPr>
            <a:spLocks noGrp="1"/>
          </p:cNvSpPr>
          <p:nvPr>
            <p:ph sz="quarter" idx="10" hasCustomPrompt="1"/>
            <p:custDataLst>
              <p:tags r:id="rId9"/>
            </p:custDataLst>
          </p:nvPr>
        </p:nvSpPr>
        <p:spPr>
          <a:xfrm>
            <a:off x="642851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1318073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0F4E0F03-26B4-4973-B9C2-5C22E4661001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1895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0806"/>
            <a:ext cx="10972800" cy="451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9356" tIns="39677" rIns="79356" bIns="39677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533" b="0" kern="1200" dirty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97630"/>
            <a:ext cx="10972800" cy="4928137"/>
          </a:xfrm>
          <a:prstGeom prst="rect">
            <a:avLst/>
          </a:prstGeom>
        </p:spPr>
        <p:txBody>
          <a:bodyPr lIns="79364" tIns="39682" rIns="79364" bIns="39682"/>
          <a:lstStyle>
            <a:lvl1pPr algn="just">
              <a:defRPr lang="en-US" altLang="ja-JP" sz="2133" b="0" kern="120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1pPr>
            <a:lvl2pPr algn="just">
              <a:defRPr lang="en-US" altLang="ja-JP" sz="1867" b="0" kern="120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2pPr>
            <a:lvl3pPr algn="just">
              <a:defRPr lang="en-US" altLang="ja-JP" sz="1733" b="0" kern="120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3pPr>
            <a:lvl4pPr algn="just">
              <a:defRPr lang="en-US" altLang="ja-JP" sz="1467" b="0" kern="120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4pPr>
            <a:lvl5pPr algn="just">
              <a:defRPr lang="en-US" altLang="ja-JP" sz="1467" b="0" kern="1200" dirty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6309056"/>
      </p:ext>
    </p:extLst>
  </p:cSld>
  <p:clrMapOvr>
    <a:masterClrMapping/>
  </p:clrMapOvr>
  <p:transition spd="slow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: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0"/>
            <a:ext cx="107696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4867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ags" Target="../tags/tag54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tags" Target="../tags/tag228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82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oleObject" Target="../embeddings/oleObject4.bin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tags" Target="../tags/tag3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2" y="1752600"/>
            <a:ext cx="107695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245599" y="6324600"/>
            <a:ext cx="2336801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11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11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1100" dirty="0" err="1">
              <a:solidFill>
                <a:schemeClr val="bg2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745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915" r:id="rId23"/>
    <p:sldLayoutId id="2147483916" r:id="rId24"/>
    <p:sldLayoutId id="2147483940" r:id="rId25"/>
    <p:sldLayoutId id="2147483941" r:id="rId26"/>
    <p:sldLayoutId id="2147484016" r:id="rId27"/>
    <p:sldLayoutId id="2147484017" r:id="rId2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2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8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5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" name="Grid" hidden="1"/>
          <p:cNvGrpSpPr/>
          <p:nvPr>
            <p:custDataLst>
              <p:tags r:id="rId26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rgbClr val="821A1A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911" y="943983"/>
            <a:ext cx="10958239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0911" y="1815353"/>
            <a:ext cx="10947102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876" y="6252882"/>
            <a:ext cx="7035834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0" name="TextBox 59"/>
          <p:cNvSpPr txBox="1"/>
          <p:nvPr userDrawn="1"/>
        </p:nvSpPr>
        <p:spPr>
          <a:xfrm>
            <a:off x="9245599" y="6324600"/>
            <a:ext cx="2336801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11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11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1100" dirty="0" err="1">
              <a:solidFill>
                <a:schemeClr val="bg2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906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235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1412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6482" indent="-203305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2963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3092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3"/>
            </p:custDataLst>
          </p:nvPr>
        </p:nvGrpSpPr>
        <p:grpSpPr>
          <a:xfrm>
            <a:off x="642852" y="605118"/>
            <a:ext cx="10906298" cy="5922085"/>
            <a:chOff x="530352" y="685800"/>
            <a:chExt cx="8997696" cy="6711696"/>
          </a:xfrm>
        </p:grpSpPr>
        <p:sp>
          <p:nvSpPr>
            <p:cNvPr id="55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05466">
                <a:defRPr/>
              </a:pPr>
              <a:endParaRPr lang="en-GB" sz="971" dirty="0"/>
            </a:p>
          </p:txBody>
        </p:sp>
        <p:sp>
          <p:nvSpPr>
            <p:cNvPr id="56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05466">
                <a:defRPr/>
              </a:pPr>
              <a:endParaRPr lang="en-GB" sz="971" dirty="0"/>
            </a:p>
          </p:txBody>
        </p:sp>
        <p:sp>
          <p:nvSpPr>
            <p:cNvPr id="57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8" name="Group 600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5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6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7" name="Content block 603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8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9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59" name="Group 500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9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0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1" name="Content block 503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2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3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60" name="Group 400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3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4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5" name="Content block 403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6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7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61" name="Group 300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7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8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9" name="Content block 303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0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1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62" name="Group 200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1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2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3" name="Content block 203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4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5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63" name="Group 100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5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7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8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9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2" y="1008529"/>
            <a:ext cx="10906298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2" y="1952513"/>
            <a:ext cx="10906298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2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3" name="TextBox 52"/>
          <p:cNvSpPr txBox="1"/>
          <p:nvPr userDrawn="1"/>
        </p:nvSpPr>
        <p:spPr>
          <a:xfrm>
            <a:off x="9245599" y="6096000"/>
            <a:ext cx="2336801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11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11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1100" dirty="0" err="1">
              <a:solidFill>
                <a:schemeClr val="bg2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644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6" r:id="rId14"/>
    <p:sldLayoutId id="2147483987" r:id="rId15"/>
    <p:sldLayoutId id="2147483988" r:id="rId16"/>
    <p:sldLayoutId id="2147483989" r:id="rId17"/>
    <p:sldLayoutId id="2147483990" r:id="rId18"/>
    <p:sldLayoutId id="2147483991" r:id="rId19"/>
    <p:sldLayoutId id="2147483992" r:id="rId20"/>
    <p:sldLayoutId id="2147483993" r:id="rId21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588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571" marR="0" indent="-200316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05150" marR="0" indent="-20978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785" indent="-209785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571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02348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4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" name="Grid" hidden="1"/>
          <p:cNvGrpSpPr/>
          <p:nvPr>
            <p:custDataLst>
              <p:tags r:id="rId2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911" y="943983"/>
            <a:ext cx="10958239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0911" y="1815353"/>
            <a:ext cx="10947102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876" y="6252882"/>
            <a:ext cx="7035834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9" name="TextBox 58"/>
          <p:cNvSpPr txBox="1"/>
          <p:nvPr userDrawn="1"/>
        </p:nvSpPr>
        <p:spPr>
          <a:xfrm>
            <a:off x="9245599" y="6324600"/>
            <a:ext cx="2336801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11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11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1100" dirty="0" err="1">
              <a:solidFill>
                <a:schemeClr val="bg2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34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7" r:id="rId13"/>
    <p:sldLayoutId id="2147484008" r:id="rId14"/>
    <p:sldLayoutId id="2147484009" r:id="rId15"/>
    <p:sldLayoutId id="2147484010" r:id="rId16"/>
    <p:sldLayoutId id="2147484011" r:id="rId17"/>
    <p:sldLayoutId id="2147484015" r:id="rId18"/>
    <p:sldLayoutId id="2147484018" r:id="rId19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235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1412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6482" indent="-203305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2963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3092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49.xml"/><Relationship Id="rId7" Type="http://schemas.openxmlformats.org/officeDocument/2006/relationships/image" Target="../media/image13.png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image" Target="../media/image12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5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53.xml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5" Type="http://schemas.openxmlformats.org/officeDocument/2006/relationships/image" Target="../media/image14.png"/><Relationship Id="rId4" Type="http://schemas.openxmlformats.org/officeDocument/2006/relationships/slideLayout" Target="../slideLayouts/slideLayout8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56.xml"/><Relationship Id="rId2" Type="http://schemas.openxmlformats.org/officeDocument/2006/relationships/tags" Target="../tags/tag555.xml"/><Relationship Id="rId1" Type="http://schemas.openxmlformats.org/officeDocument/2006/relationships/tags" Target="../tags/tag554.xml"/><Relationship Id="rId6" Type="http://schemas.openxmlformats.org/officeDocument/2006/relationships/image" Target="../media/image15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5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1.xml"/><Relationship Id="rId1" Type="http://schemas.openxmlformats.org/officeDocument/2006/relationships/tags" Target="../tags/tag55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61.xml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6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5.xml"/><Relationship Id="rId2" Type="http://schemas.openxmlformats.org/officeDocument/2006/relationships/tags" Target="../tags/tag564.xml"/><Relationship Id="rId1" Type="http://schemas.openxmlformats.org/officeDocument/2006/relationships/tags" Target="../tags/tag563.xml"/><Relationship Id="rId6" Type="http://schemas.openxmlformats.org/officeDocument/2006/relationships/image" Target="../media/image17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6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69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8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72.xml"/><Relationship Id="rId2" Type="http://schemas.openxmlformats.org/officeDocument/2006/relationships/tags" Target="../tags/tag571.xml"/><Relationship Id="rId1" Type="http://schemas.openxmlformats.org/officeDocument/2006/relationships/tags" Target="../tags/tag570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7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2" Type="http://schemas.openxmlformats.org/officeDocument/2006/relationships/tags" Target="../tags/tag575.xml"/><Relationship Id="rId1" Type="http://schemas.openxmlformats.org/officeDocument/2006/relationships/tags" Target="../tags/tag574.xml"/><Relationship Id="rId6" Type="http://schemas.openxmlformats.org/officeDocument/2006/relationships/image" Target="../media/image21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7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1.xml"/><Relationship Id="rId1" Type="http://schemas.openxmlformats.org/officeDocument/2006/relationships/tags" Target="../tags/tag5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21.xml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7.xml"/><Relationship Id="rId4" Type="http://schemas.openxmlformats.org/officeDocument/2006/relationships/tags" Target="../tags/tag5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81.xml"/><Relationship Id="rId2" Type="http://schemas.openxmlformats.org/officeDocument/2006/relationships/tags" Target="../tags/tag580.xml"/><Relationship Id="rId1" Type="http://schemas.openxmlformats.org/officeDocument/2006/relationships/tags" Target="../tags/tag579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8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85.xml"/><Relationship Id="rId2" Type="http://schemas.openxmlformats.org/officeDocument/2006/relationships/tags" Target="../tags/tag584.xml"/><Relationship Id="rId1" Type="http://schemas.openxmlformats.org/officeDocument/2006/relationships/tags" Target="../tags/tag583.xml"/><Relationship Id="rId6" Type="http://schemas.openxmlformats.org/officeDocument/2006/relationships/image" Target="../media/image23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8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89.xml"/><Relationship Id="rId2" Type="http://schemas.openxmlformats.org/officeDocument/2006/relationships/tags" Target="../tags/tag588.xml"/><Relationship Id="rId1" Type="http://schemas.openxmlformats.org/officeDocument/2006/relationships/tags" Target="../tags/tag58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8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6" Type="http://schemas.openxmlformats.org/officeDocument/2006/relationships/image" Target="../media/image26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9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596.xml"/><Relationship Id="rId2" Type="http://schemas.openxmlformats.org/officeDocument/2006/relationships/tags" Target="../tags/tag595.xml"/><Relationship Id="rId1" Type="http://schemas.openxmlformats.org/officeDocument/2006/relationships/tags" Target="../tags/tag594.xml"/><Relationship Id="rId5" Type="http://schemas.openxmlformats.org/officeDocument/2006/relationships/image" Target="../media/image27.png"/><Relationship Id="rId4" Type="http://schemas.openxmlformats.org/officeDocument/2006/relationships/slideLayout" Target="../slideLayouts/slideLayout8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99.xml"/><Relationship Id="rId2" Type="http://schemas.openxmlformats.org/officeDocument/2006/relationships/tags" Target="../tags/tag598.xml"/><Relationship Id="rId1" Type="http://schemas.openxmlformats.org/officeDocument/2006/relationships/tags" Target="../tags/tag597.xml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8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0.xml"/><Relationship Id="rId1" Type="http://schemas.openxmlformats.org/officeDocument/2006/relationships/tags" Target="../tags/tag600.xml"/><Relationship Id="rId4" Type="http://schemas.openxmlformats.org/officeDocument/2006/relationships/image" Target="../media/image2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25.xml"/><Relationship Id="rId7" Type="http://schemas.openxmlformats.org/officeDocument/2006/relationships/image" Target="../media/image6.jpeg"/><Relationship Id="rId2" Type="http://schemas.openxmlformats.org/officeDocument/2006/relationships/tags" Target="../tags/tag524.xml"/><Relationship Id="rId1" Type="http://schemas.openxmlformats.org/officeDocument/2006/relationships/tags" Target="../tags/tag52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5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30.xml"/><Relationship Id="rId2" Type="http://schemas.openxmlformats.org/officeDocument/2006/relationships/tags" Target="../tags/tag529.xml"/><Relationship Id="rId1" Type="http://schemas.openxmlformats.org/officeDocument/2006/relationships/tags" Target="../tags/tag528.xml"/><Relationship Id="rId6" Type="http://schemas.openxmlformats.org/officeDocument/2006/relationships/image" Target="../media/image7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34.xml"/><Relationship Id="rId2" Type="http://schemas.openxmlformats.org/officeDocument/2006/relationships/tags" Target="../tags/tag533.xml"/><Relationship Id="rId1" Type="http://schemas.openxmlformats.org/officeDocument/2006/relationships/tags" Target="../tags/tag532.xml"/><Relationship Id="rId6" Type="http://schemas.openxmlformats.org/officeDocument/2006/relationships/image" Target="../media/image8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38.xml"/><Relationship Id="rId2" Type="http://schemas.openxmlformats.org/officeDocument/2006/relationships/tags" Target="../tags/tag537.xml"/><Relationship Id="rId1" Type="http://schemas.openxmlformats.org/officeDocument/2006/relationships/tags" Target="../tags/tag536.xml"/><Relationship Id="rId6" Type="http://schemas.openxmlformats.org/officeDocument/2006/relationships/image" Target="../media/image9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42.xml"/><Relationship Id="rId2" Type="http://schemas.openxmlformats.org/officeDocument/2006/relationships/tags" Target="../tags/tag541.xml"/><Relationship Id="rId1" Type="http://schemas.openxmlformats.org/officeDocument/2006/relationships/tags" Target="../tags/tag540.xml"/><Relationship Id="rId6" Type="http://schemas.openxmlformats.org/officeDocument/2006/relationships/image" Target="../media/image10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4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46.xml"/><Relationship Id="rId2" Type="http://schemas.openxmlformats.org/officeDocument/2006/relationships/tags" Target="../tags/tag545.xml"/><Relationship Id="rId1" Type="http://schemas.openxmlformats.org/officeDocument/2006/relationships/tags" Target="../tags/tag544.xml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14269" y="417548"/>
            <a:ext cx="10591801" cy="6022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>
            <a:off x="850079" y="764095"/>
            <a:ext cx="9127534" cy="3654741"/>
          </a:xfrm>
          <a:custGeom>
            <a:avLst/>
            <a:gdLst>
              <a:gd name="T0" fmla="*/ 6620 w 6620"/>
              <a:gd name="T1" fmla="*/ 2621 h 2621"/>
              <a:gd name="T2" fmla="*/ 3075 w 6620"/>
              <a:gd name="T3" fmla="*/ 0 h 2621"/>
              <a:gd name="T4" fmla="*/ 0 w 6620"/>
              <a:gd name="T5" fmla="*/ 0 h 2621"/>
              <a:gd name="T6" fmla="*/ 3545 w 6620"/>
              <a:gd name="T7" fmla="*/ 2621 h 2621"/>
              <a:gd name="T8" fmla="*/ 6620 w 6620"/>
              <a:gd name="T9" fmla="*/ 2621 h 2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20" h="2621">
                <a:moveTo>
                  <a:pt x="6620" y="2621"/>
                </a:moveTo>
                <a:lnTo>
                  <a:pt x="3075" y="0"/>
                </a:lnTo>
                <a:lnTo>
                  <a:pt x="0" y="0"/>
                </a:lnTo>
                <a:lnTo>
                  <a:pt x="3545" y="2621"/>
                </a:lnTo>
                <a:lnTo>
                  <a:pt x="6620" y="262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8" name="Freeform 10"/>
          <p:cNvSpPr>
            <a:spLocks/>
          </p:cNvSpPr>
          <p:nvPr/>
        </p:nvSpPr>
        <p:spPr bwMode="auto">
          <a:xfrm>
            <a:off x="2803621" y="764095"/>
            <a:ext cx="8002449" cy="3654741"/>
          </a:xfrm>
          <a:custGeom>
            <a:avLst/>
            <a:gdLst>
              <a:gd name="T0" fmla="*/ 3545 w 5804"/>
              <a:gd name="T1" fmla="*/ 2621 h 2621"/>
              <a:gd name="T2" fmla="*/ 5804 w 5804"/>
              <a:gd name="T3" fmla="*/ 2621 h 2621"/>
              <a:gd name="T4" fmla="*/ 5804 w 5804"/>
              <a:gd name="T5" fmla="*/ 0 h 2621"/>
              <a:gd name="T6" fmla="*/ 0 w 5804"/>
              <a:gd name="T7" fmla="*/ 0 h 2621"/>
              <a:gd name="T8" fmla="*/ 3545 w 5804"/>
              <a:gd name="T9" fmla="*/ 2621 h 2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4" h="2621">
                <a:moveTo>
                  <a:pt x="3545" y="2621"/>
                </a:moveTo>
                <a:lnTo>
                  <a:pt x="5804" y="2621"/>
                </a:lnTo>
                <a:lnTo>
                  <a:pt x="5804" y="0"/>
                </a:lnTo>
                <a:lnTo>
                  <a:pt x="0" y="0"/>
                </a:lnTo>
                <a:lnTo>
                  <a:pt x="3545" y="262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228599" y="525100"/>
            <a:ext cx="10591801" cy="6028100"/>
          </a:xfrm>
          <a:custGeom>
            <a:avLst/>
            <a:gdLst>
              <a:gd name="connsiteX0" fmla="*/ 0 w 12195175"/>
              <a:gd name="connsiteY0" fmla="*/ 0 h 6856413"/>
              <a:gd name="connsiteX1" fmla="*/ 12195175 w 12195175"/>
              <a:gd name="connsiteY1" fmla="*/ 0 h 6856413"/>
              <a:gd name="connsiteX2" fmla="*/ 12195175 w 12195175"/>
              <a:gd name="connsiteY2" fmla="*/ 6856413 h 6856413"/>
              <a:gd name="connsiteX3" fmla="*/ 0 w 12195175"/>
              <a:gd name="connsiteY3" fmla="*/ 6856413 h 6856413"/>
              <a:gd name="connsiteX4" fmla="*/ 0 w 12195175"/>
              <a:gd name="connsiteY4" fmla="*/ 0 h 6856413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6858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6858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6858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68580 w 12195175"/>
              <a:gd name="connsiteY1" fmla="*/ 0 h 6862852"/>
              <a:gd name="connsiteX2" fmla="*/ 12195175 w 12195175"/>
              <a:gd name="connsiteY2" fmla="*/ 6862852 h 6862852"/>
              <a:gd name="connsiteX3" fmla="*/ 0 w 12195175"/>
              <a:gd name="connsiteY3" fmla="*/ 6862852 h 6862852"/>
              <a:gd name="connsiteX4" fmla="*/ 0 w 12195175"/>
              <a:gd name="connsiteY4" fmla="*/ 6439 h 68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5175" h="6862852">
                <a:moveTo>
                  <a:pt x="0" y="6439"/>
                </a:moveTo>
                <a:lnTo>
                  <a:pt x="2968580" y="0"/>
                </a:lnTo>
                <a:lnTo>
                  <a:pt x="12195175" y="6862852"/>
                </a:lnTo>
                <a:lnTo>
                  <a:pt x="0" y="6862852"/>
                </a:lnTo>
                <a:lnTo>
                  <a:pt x="0" y="6439"/>
                </a:lnTo>
                <a:close/>
              </a:path>
            </a:pathLst>
          </a:custGeom>
          <a:solidFill>
            <a:srgbClr val="A3202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1" name="Freeform 21"/>
          <p:cNvSpPr>
            <a:spLocks/>
          </p:cNvSpPr>
          <p:nvPr/>
        </p:nvSpPr>
        <p:spPr bwMode="auto">
          <a:xfrm>
            <a:off x="1648734" y="942267"/>
            <a:ext cx="3797000" cy="2437424"/>
          </a:xfrm>
          <a:custGeom>
            <a:avLst/>
            <a:gdLst>
              <a:gd name="T0" fmla="*/ 2793 w 2793"/>
              <a:gd name="T1" fmla="*/ 1748 h 1748"/>
              <a:gd name="T2" fmla="*/ 428 w 2793"/>
              <a:gd name="T3" fmla="*/ 0 h 1748"/>
              <a:gd name="T4" fmla="*/ 0 w 2793"/>
              <a:gd name="T5" fmla="*/ 0 h 1748"/>
              <a:gd name="T6" fmla="*/ 2363 w 2793"/>
              <a:gd name="T7" fmla="*/ 1748 h 1748"/>
              <a:gd name="T8" fmla="*/ 2793 w 2793"/>
              <a:gd name="T9" fmla="*/ 1748 h 1748"/>
              <a:gd name="connsiteX0" fmla="*/ 10058 w 10058"/>
              <a:gd name="connsiteY0" fmla="*/ 10000 h 10000"/>
              <a:gd name="connsiteX1" fmla="*/ 1532 w 10058"/>
              <a:gd name="connsiteY1" fmla="*/ 0 h 10000"/>
              <a:gd name="connsiteX2" fmla="*/ 0 w 10058"/>
              <a:gd name="connsiteY2" fmla="*/ 0 h 10000"/>
              <a:gd name="connsiteX3" fmla="*/ 8460 w 10058"/>
              <a:gd name="connsiteY3" fmla="*/ 10000 h 10000"/>
              <a:gd name="connsiteX4" fmla="*/ 10058 w 1005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10058" y="10000"/>
                </a:moveTo>
                <a:lnTo>
                  <a:pt x="1532" y="0"/>
                </a:lnTo>
                <a:lnTo>
                  <a:pt x="0" y="0"/>
                </a:lnTo>
                <a:lnTo>
                  <a:pt x="8460" y="10000"/>
                </a:lnTo>
                <a:lnTo>
                  <a:pt x="10058" y="10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2" name="Freeform 22"/>
          <p:cNvSpPr>
            <a:spLocks/>
          </p:cNvSpPr>
          <p:nvPr/>
        </p:nvSpPr>
        <p:spPr bwMode="auto">
          <a:xfrm>
            <a:off x="3914962" y="1076156"/>
            <a:ext cx="1971648" cy="1522660"/>
          </a:xfrm>
          <a:custGeom>
            <a:avLst/>
            <a:gdLst>
              <a:gd name="T0" fmla="*/ 0 w 1444"/>
              <a:gd name="T1" fmla="*/ 0 h 1068"/>
              <a:gd name="T2" fmla="*/ 1444 w 1444"/>
              <a:gd name="T3" fmla="*/ 1068 h 1068"/>
              <a:gd name="T4" fmla="*/ 1430 w 1444"/>
              <a:gd name="T5" fmla="*/ 874 h 1068"/>
              <a:gd name="T6" fmla="*/ 248 w 1444"/>
              <a:gd name="T7" fmla="*/ 0 h 1068"/>
              <a:gd name="T8" fmla="*/ 0 w 1444"/>
              <a:gd name="T9" fmla="*/ 0 h 1068"/>
              <a:gd name="connsiteX0" fmla="*/ 0 w 9903"/>
              <a:gd name="connsiteY0" fmla="*/ 0 h 10025"/>
              <a:gd name="connsiteX1" fmla="*/ 9889 w 9903"/>
              <a:gd name="connsiteY1" fmla="*/ 10025 h 10025"/>
              <a:gd name="connsiteX2" fmla="*/ 9903 w 9903"/>
              <a:gd name="connsiteY2" fmla="*/ 8184 h 10025"/>
              <a:gd name="connsiteX3" fmla="*/ 1717 w 9903"/>
              <a:gd name="connsiteY3" fmla="*/ 0 h 10025"/>
              <a:gd name="connsiteX4" fmla="*/ 0 w 9903"/>
              <a:gd name="connsiteY4" fmla="*/ 0 h 10025"/>
              <a:gd name="connsiteX0" fmla="*/ 0 w 10000"/>
              <a:gd name="connsiteY0" fmla="*/ 0 h 10050"/>
              <a:gd name="connsiteX1" fmla="*/ 9930 w 10000"/>
              <a:gd name="connsiteY1" fmla="*/ 10050 h 10050"/>
              <a:gd name="connsiteX2" fmla="*/ 10000 w 10000"/>
              <a:gd name="connsiteY2" fmla="*/ 8164 h 10050"/>
              <a:gd name="connsiteX3" fmla="*/ 1734 w 10000"/>
              <a:gd name="connsiteY3" fmla="*/ 0 h 10050"/>
              <a:gd name="connsiteX4" fmla="*/ 0 w 10000"/>
              <a:gd name="connsiteY4" fmla="*/ 0 h 10050"/>
              <a:gd name="connsiteX0" fmla="*/ 0 w 10000"/>
              <a:gd name="connsiteY0" fmla="*/ 0 h 10050"/>
              <a:gd name="connsiteX1" fmla="*/ 9930 w 10000"/>
              <a:gd name="connsiteY1" fmla="*/ 10050 h 10050"/>
              <a:gd name="connsiteX2" fmla="*/ 10000 w 10000"/>
              <a:gd name="connsiteY2" fmla="*/ 8338 h 10050"/>
              <a:gd name="connsiteX3" fmla="*/ 1734 w 10000"/>
              <a:gd name="connsiteY3" fmla="*/ 0 h 10050"/>
              <a:gd name="connsiteX4" fmla="*/ 0 w 10000"/>
              <a:gd name="connsiteY4" fmla="*/ 0 h 10050"/>
              <a:gd name="connsiteX0" fmla="*/ 0 w 10000"/>
              <a:gd name="connsiteY0" fmla="*/ 0 h 10199"/>
              <a:gd name="connsiteX1" fmla="*/ 9949 w 10000"/>
              <a:gd name="connsiteY1" fmla="*/ 10199 h 10199"/>
              <a:gd name="connsiteX2" fmla="*/ 10000 w 10000"/>
              <a:gd name="connsiteY2" fmla="*/ 8338 h 10199"/>
              <a:gd name="connsiteX3" fmla="*/ 1734 w 10000"/>
              <a:gd name="connsiteY3" fmla="*/ 0 h 10199"/>
              <a:gd name="connsiteX4" fmla="*/ 0 w 10000"/>
              <a:gd name="connsiteY4" fmla="*/ 0 h 1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199">
                <a:moveTo>
                  <a:pt x="0" y="0"/>
                </a:moveTo>
                <a:lnTo>
                  <a:pt x="9949" y="10199"/>
                </a:lnTo>
                <a:cubicBezTo>
                  <a:pt x="9954" y="9587"/>
                  <a:pt x="9995" y="8950"/>
                  <a:pt x="10000" y="8338"/>
                </a:cubicBezTo>
                <a:lnTo>
                  <a:pt x="173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5949654" y="3004298"/>
            <a:ext cx="3456606" cy="2581047"/>
          </a:xfrm>
          <a:custGeom>
            <a:avLst/>
            <a:gdLst>
              <a:gd name="T0" fmla="*/ 2507 w 2507"/>
              <a:gd name="T1" fmla="*/ 1851 h 1851"/>
              <a:gd name="T2" fmla="*/ 0 w 2507"/>
              <a:gd name="T3" fmla="*/ 0 h 1851"/>
              <a:gd name="T4" fmla="*/ 0 w 2507"/>
              <a:gd name="T5" fmla="*/ 182 h 1851"/>
              <a:gd name="T6" fmla="*/ 2259 w 2507"/>
              <a:gd name="T7" fmla="*/ 1851 h 1851"/>
              <a:gd name="T8" fmla="*/ 2507 w 2507"/>
              <a:gd name="T9" fmla="*/ 1851 h 1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07" h="1851">
                <a:moveTo>
                  <a:pt x="2507" y="1851"/>
                </a:moveTo>
                <a:lnTo>
                  <a:pt x="0" y="0"/>
                </a:lnTo>
                <a:lnTo>
                  <a:pt x="0" y="182"/>
                </a:lnTo>
                <a:lnTo>
                  <a:pt x="2259" y="1851"/>
                </a:lnTo>
                <a:lnTo>
                  <a:pt x="2507" y="18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7009790" y="4370692"/>
            <a:ext cx="3120183" cy="2069299"/>
          </a:xfrm>
          <a:custGeom>
            <a:avLst/>
            <a:gdLst>
              <a:gd name="T0" fmla="*/ 0 w 2263"/>
              <a:gd name="T1" fmla="*/ 0 h 1492"/>
              <a:gd name="T2" fmla="*/ 2015 w 2263"/>
              <a:gd name="T3" fmla="*/ 1492 h 1492"/>
              <a:gd name="T4" fmla="*/ 2263 w 2263"/>
              <a:gd name="T5" fmla="*/ 1492 h 1492"/>
              <a:gd name="T6" fmla="*/ 248 w 2263"/>
              <a:gd name="T7" fmla="*/ 0 h 1492"/>
              <a:gd name="T8" fmla="*/ 0 w 2263"/>
              <a:gd name="T9" fmla="*/ 0 h 1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63" h="1492">
                <a:moveTo>
                  <a:pt x="0" y="0"/>
                </a:moveTo>
                <a:lnTo>
                  <a:pt x="2015" y="1492"/>
                </a:lnTo>
                <a:lnTo>
                  <a:pt x="2263" y="1492"/>
                </a:lnTo>
                <a:lnTo>
                  <a:pt x="248" y="0"/>
                </a:lnTo>
                <a:lnTo>
                  <a:pt x="0" y="0"/>
                </a:lnTo>
                <a:close/>
              </a:path>
            </a:pathLst>
          </a:custGeom>
          <a:solidFill>
            <a:srgbClr val="A320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5" name="Freeform 15"/>
          <p:cNvSpPr>
            <a:spLocks/>
          </p:cNvSpPr>
          <p:nvPr/>
        </p:nvSpPr>
        <p:spPr bwMode="auto">
          <a:xfrm>
            <a:off x="7645180" y="4109297"/>
            <a:ext cx="3160892" cy="2367703"/>
          </a:xfrm>
          <a:custGeom>
            <a:avLst/>
            <a:gdLst>
              <a:gd name="T0" fmla="*/ 459 w 2273"/>
              <a:gd name="T1" fmla="*/ 0 h 1698"/>
              <a:gd name="T2" fmla="*/ 0 w 2273"/>
              <a:gd name="T3" fmla="*/ 0 h 1698"/>
              <a:gd name="T4" fmla="*/ 2273 w 2273"/>
              <a:gd name="T5" fmla="*/ 1698 h 1698"/>
              <a:gd name="T6" fmla="*/ 2273 w 2273"/>
              <a:gd name="T7" fmla="*/ 1340 h 1698"/>
              <a:gd name="T8" fmla="*/ 459 w 2273"/>
              <a:gd name="T9" fmla="*/ 0 h 1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73" h="1698">
                <a:moveTo>
                  <a:pt x="459" y="0"/>
                </a:moveTo>
                <a:lnTo>
                  <a:pt x="0" y="0"/>
                </a:lnTo>
                <a:lnTo>
                  <a:pt x="2273" y="1698"/>
                </a:lnTo>
                <a:lnTo>
                  <a:pt x="2273" y="1340"/>
                </a:lnTo>
                <a:lnTo>
                  <a:pt x="459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6" name="Freeform 16"/>
          <p:cNvSpPr>
            <a:spLocks/>
          </p:cNvSpPr>
          <p:nvPr/>
        </p:nvSpPr>
        <p:spPr bwMode="auto">
          <a:xfrm>
            <a:off x="7672099" y="4072289"/>
            <a:ext cx="3133971" cy="2367703"/>
          </a:xfrm>
          <a:custGeom>
            <a:avLst/>
            <a:gdLst>
              <a:gd name="T0" fmla="*/ 459 w 2273"/>
              <a:gd name="T1" fmla="*/ 0 h 1698"/>
              <a:gd name="T2" fmla="*/ 0 w 2273"/>
              <a:gd name="T3" fmla="*/ 0 h 1698"/>
              <a:gd name="T4" fmla="*/ 2273 w 2273"/>
              <a:gd name="T5" fmla="*/ 1698 h 1698"/>
              <a:gd name="T6" fmla="*/ 2273 w 2273"/>
              <a:gd name="T7" fmla="*/ 1340 h 1698"/>
              <a:gd name="T8" fmla="*/ 459 w 2273"/>
              <a:gd name="T9" fmla="*/ 0 h 1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73" h="1698">
                <a:moveTo>
                  <a:pt x="459" y="0"/>
                </a:moveTo>
                <a:lnTo>
                  <a:pt x="0" y="0"/>
                </a:lnTo>
                <a:lnTo>
                  <a:pt x="2273" y="1698"/>
                </a:lnTo>
                <a:lnTo>
                  <a:pt x="2273" y="1340"/>
                </a:lnTo>
                <a:lnTo>
                  <a:pt x="45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7" name="Freeform 17"/>
          <p:cNvSpPr>
            <a:spLocks/>
          </p:cNvSpPr>
          <p:nvPr/>
        </p:nvSpPr>
        <p:spPr bwMode="auto">
          <a:xfrm>
            <a:off x="6497319" y="3271238"/>
            <a:ext cx="2149521" cy="1147598"/>
          </a:xfrm>
          <a:custGeom>
            <a:avLst/>
            <a:gdLst>
              <a:gd name="T0" fmla="*/ 0 w 1559"/>
              <a:gd name="T1" fmla="*/ 0 h 823"/>
              <a:gd name="T2" fmla="*/ 1100 w 1559"/>
              <a:gd name="T3" fmla="*/ 823 h 823"/>
              <a:gd name="T4" fmla="*/ 1559 w 1559"/>
              <a:gd name="T5" fmla="*/ 823 h 823"/>
              <a:gd name="T6" fmla="*/ 1114 w 1559"/>
              <a:gd name="T7" fmla="*/ 823 h 823"/>
              <a:gd name="T8" fmla="*/ 0 w 1559"/>
              <a:gd name="T9" fmla="*/ 0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59" h="823">
                <a:moveTo>
                  <a:pt x="0" y="0"/>
                </a:moveTo>
                <a:lnTo>
                  <a:pt x="1100" y="823"/>
                </a:lnTo>
                <a:lnTo>
                  <a:pt x="1559" y="823"/>
                </a:lnTo>
                <a:lnTo>
                  <a:pt x="1114" y="823"/>
                </a:lnTo>
                <a:lnTo>
                  <a:pt x="0" y="0"/>
                </a:lnTo>
                <a:close/>
              </a:path>
            </a:pathLst>
          </a:custGeom>
          <a:solidFill>
            <a:srgbClr val="8A484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8" name="Freeform 18"/>
          <p:cNvSpPr>
            <a:spLocks/>
          </p:cNvSpPr>
          <p:nvPr/>
        </p:nvSpPr>
        <p:spPr bwMode="auto">
          <a:xfrm>
            <a:off x="6497319" y="3271238"/>
            <a:ext cx="2149521" cy="1147598"/>
          </a:xfrm>
          <a:custGeom>
            <a:avLst/>
            <a:gdLst>
              <a:gd name="T0" fmla="*/ 0 w 1559"/>
              <a:gd name="T1" fmla="*/ 0 h 823"/>
              <a:gd name="T2" fmla="*/ 1100 w 1559"/>
              <a:gd name="T3" fmla="*/ 823 h 823"/>
              <a:gd name="T4" fmla="*/ 1559 w 1559"/>
              <a:gd name="T5" fmla="*/ 823 h 823"/>
              <a:gd name="T6" fmla="*/ 1114 w 1559"/>
              <a:gd name="T7" fmla="*/ 823 h 823"/>
              <a:gd name="T8" fmla="*/ 0 w 1559"/>
              <a:gd name="T9" fmla="*/ 0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59" h="823">
                <a:moveTo>
                  <a:pt x="0" y="0"/>
                </a:moveTo>
                <a:lnTo>
                  <a:pt x="1100" y="823"/>
                </a:lnTo>
                <a:lnTo>
                  <a:pt x="1559" y="823"/>
                </a:lnTo>
                <a:lnTo>
                  <a:pt x="1114" y="82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9" name="Freeform 19"/>
          <p:cNvSpPr>
            <a:spLocks/>
          </p:cNvSpPr>
          <p:nvPr/>
        </p:nvSpPr>
        <p:spPr bwMode="auto">
          <a:xfrm>
            <a:off x="6393225" y="3201519"/>
            <a:ext cx="2240520" cy="1217317"/>
          </a:xfrm>
          <a:custGeom>
            <a:avLst/>
            <a:gdLst>
              <a:gd name="T0" fmla="*/ 444 w 1625"/>
              <a:gd name="T1" fmla="*/ 0 h 873"/>
              <a:gd name="T2" fmla="*/ 0 w 1625"/>
              <a:gd name="T3" fmla="*/ 0 h 873"/>
              <a:gd name="T4" fmla="*/ 66 w 1625"/>
              <a:gd name="T5" fmla="*/ 50 h 873"/>
              <a:gd name="T6" fmla="*/ 1180 w 1625"/>
              <a:gd name="T7" fmla="*/ 873 h 873"/>
              <a:gd name="T8" fmla="*/ 1625 w 1625"/>
              <a:gd name="T9" fmla="*/ 873 h 873"/>
              <a:gd name="T10" fmla="*/ 444 w 1625"/>
              <a:gd name="T11" fmla="*/ 0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25" h="873">
                <a:moveTo>
                  <a:pt x="444" y="0"/>
                </a:moveTo>
                <a:lnTo>
                  <a:pt x="0" y="0"/>
                </a:lnTo>
                <a:lnTo>
                  <a:pt x="66" y="50"/>
                </a:lnTo>
                <a:lnTo>
                  <a:pt x="1180" y="873"/>
                </a:lnTo>
                <a:lnTo>
                  <a:pt x="1625" y="873"/>
                </a:lnTo>
                <a:lnTo>
                  <a:pt x="44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0" name="Freeform 20"/>
          <p:cNvSpPr>
            <a:spLocks/>
          </p:cNvSpPr>
          <p:nvPr/>
        </p:nvSpPr>
        <p:spPr bwMode="auto">
          <a:xfrm>
            <a:off x="6406319" y="3201519"/>
            <a:ext cx="2240520" cy="1217317"/>
          </a:xfrm>
          <a:custGeom>
            <a:avLst/>
            <a:gdLst>
              <a:gd name="T0" fmla="*/ 444 w 1625"/>
              <a:gd name="T1" fmla="*/ 0 h 873"/>
              <a:gd name="T2" fmla="*/ 0 w 1625"/>
              <a:gd name="T3" fmla="*/ 0 h 873"/>
              <a:gd name="T4" fmla="*/ 66 w 1625"/>
              <a:gd name="T5" fmla="*/ 50 h 873"/>
              <a:gd name="T6" fmla="*/ 1180 w 1625"/>
              <a:gd name="T7" fmla="*/ 873 h 873"/>
              <a:gd name="T8" fmla="*/ 1625 w 1625"/>
              <a:gd name="T9" fmla="*/ 873 h 873"/>
              <a:gd name="T10" fmla="*/ 444 w 1625"/>
              <a:gd name="T11" fmla="*/ 0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25" h="873">
                <a:moveTo>
                  <a:pt x="444" y="0"/>
                </a:moveTo>
                <a:lnTo>
                  <a:pt x="0" y="0"/>
                </a:lnTo>
                <a:lnTo>
                  <a:pt x="66" y="50"/>
                </a:lnTo>
                <a:lnTo>
                  <a:pt x="1180" y="873"/>
                </a:lnTo>
                <a:lnTo>
                  <a:pt x="1625" y="873"/>
                </a:lnTo>
                <a:lnTo>
                  <a:pt x="44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2149158" y="1120848"/>
            <a:ext cx="2240520" cy="1217317"/>
          </a:xfrm>
          <a:custGeom>
            <a:avLst/>
            <a:gdLst>
              <a:gd name="T0" fmla="*/ 444 w 1625"/>
              <a:gd name="T1" fmla="*/ 0 h 873"/>
              <a:gd name="T2" fmla="*/ 0 w 1625"/>
              <a:gd name="T3" fmla="*/ 0 h 873"/>
              <a:gd name="T4" fmla="*/ 66 w 1625"/>
              <a:gd name="T5" fmla="*/ 50 h 873"/>
              <a:gd name="T6" fmla="*/ 1180 w 1625"/>
              <a:gd name="T7" fmla="*/ 873 h 873"/>
              <a:gd name="T8" fmla="*/ 1625 w 1625"/>
              <a:gd name="T9" fmla="*/ 873 h 873"/>
              <a:gd name="T10" fmla="*/ 444 w 1625"/>
              <a:gd name="T11" fmla="*/ 0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25" h="873">
                <a:moveTo>
                  <a:pt x="444" y="0"/>
                </a:moveTo>
                <a:lnTo>
                  <a:pt x="0" y="0"/>
                </a:lnTo>
                <a:lnTo>
                  <a:pt x="66" y="50"/>
                </a:lnTo>
                <a:lnTo>
                  <a:pt x="1180" y="873"/>
                </a:lnTo>
                <a:lnTo>
                  <a:pt x="1625" y="873"/>
                </a:lnTo>
                <a:lnTo>
                  <a:pt x="44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2" name="Freeform 22"/>
          <p:cNvSpPr>
            <a:spLocks/>
          </p:cNvSpPr>
          <p:nvPr/>
        </p:nvSpPr>
        <p:spPr bwMode="auto">
          <a:xfrm>
            <a:off x="3479200" y="1148970"/>
            <a:ext cx="1365600" cy="1025184"/>
          </a:xfrm>
          <a:custGeom>
            <a:avLst/>
            <a:gdLst>
              <a:gd name="T0" fmla="*/ 0 w 1444"/>
              <a:gd name="T1" fmla="*/ 0 h 1068"/>
              <a:gd name="T2" fmla="*/ 1444 w 1444"/>
              <a:gd name="T3" fmla="*/ 1068 h 1068"/>
              <a:gd name="T4" fmla="*/ 1430 w 1444"/>
              <a:gd name="T5" fmla="*/ 874 h 1068"/>
              <a:gd name="T6" fmla="*/ 248 w 1444"/>
              <a:gd name="T7" fmla="*/ 0 h 1068"/>
              <a:gd name="T8" fmla="*/ 0 w 1444"/>
              <a:gd name="T9" fmla="*/ 0 h 1068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9903 w 10000"/>
              <a:gd name="connsiteY2" fmla="*/ 8184 h 10000"/>
              <a:gd name="connsiteX3" fmla="*/ 6859 w 10000"/>
              <a:gd name="connsiteY3" fmla="*/ 5139 h 10000"/>
              <a:gd name="connsiteX4" fmla="*/ 1717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9903 w 10000"/>
              <a:gd name="connsiteY2" fmla="*/ 8184 h 10000"/>
              <a:gd name="connsiteX3" fmla="*/ 6859 w 10000"/>
              <a:gd name="connsiteY3" fmla="*/ 5139 h 10000"/>
              <a:gd name="connsiteX4" fmla="*/ 1717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9903 w 10000"/>
              <a:gd name="connsiteY2" fmla="*/ 8184 h 10000"/>
              <a:gd name="connsiteX3" fmla="*/ 6859 w 10000"/>
              <a:gd name="connsiteY3" fmla="*/ 5139 h 10000"/>
              <a:gd name="connsiteX4" fmla="*/ 1717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9903 w 10000"/>
              <a:gd name="connsiteY2" fmla="*/ 8184 h 10000"/>
              <a:gd name="connsiteX3" fmla="*/ 6859 w 10000"/>
              <a:gd name="connsiteY3" fmla="*/ 5139 h 10000"/>
              <a:gd name="connsiteX4" fmla="*/ 6859 w 10000"/>
              <a:gd name="connsiteY4" fmla="*/ 5139 h 10000"/>
              <a:gd name="connsiteX5" fmla="*/ 1717 w 10000"/>
              <a:gd name="connsiteY5" fmla="*/ 0 h 10000"/>
              <a:gd name="connsiteX6" fmla="*/ 0 w 10000"/>
              <a:gd name="connsiteY6" fmla="*/ 0 h 10000"/>
              <a:gd name="connsiteX0" fmla="*/ 0 w 10000"/>
              <a:gd name="connsiteY0" fmla="*/ 0 h 10000"/>
              <a:gd name="connsiteX1" fmla="*/ 6859 w 10000"/>
              <a:gd name="connsiteY1" fmla="*/ 6884 h 10000"/>
              <a:gd name="connsiteX2" fmla="*/ 10000 w 10000"/>
              <a:gd name="connsiteY2" fmla="*/ 10000 h 10000"/>
              <a:gd name="connsiteX3" fmla="*/ 9903 w 10000"/>
              <a:gd name="connsiteY3" fmla="*/ 8184 h 10000"/>
              <a:gd name="connsiteX4" fmla="*/ 6859 w 10000"/>
              <a:gd name="connsiteY4" fmla="*/ 5139 h 10000"/>
              <a:gd name="connsiteX5" fmla="*/ 6859 w 10000"/>
              <a:gd name="connsiteY5" fmla="*/ 5139 h 10000"/>
              <a:gd name="connsiteX6" fmla="*/ 1717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6859 w 10000"/>
              <a:gd name="connsiteY1" fmla="*/ 6884 h 10000"/>
              <a:gd name="connsiteX2" fmla="*/ 10000 w 10000"/>
              <a:gd name="connsiteY2" fmla="*/ 10000 h 10000"/>
              <a:gd name="connsiteX3" fmla="*/ 6859 w 10000"/>
              <a:gd name="connsiteY3" fmla="*/ 5139 h 10000"/>
              <a:gd name="connsiteX4" fmla="*/ 6859 w 10000"/>
              <a:gd name="connsiteY4" fmla="*/ 5139 h 10000"/>
              <a:gd name="connsiteX5" fmla="*/ 1717 w 10000"/>
              <a:gd name="connsiteY5" fmla="*/ 0 h 10000"/>
              <a:gd name="connsiteX6" fmla="*/ 0 w 10000"/>
              <a:gd name="connsiteY6" fmla="*/ 0 h 10000"/>
              <a:gd name="connsiteX0" fmla="*/ 0 w 6859"/>
              <a:gd name="connsiteY0" fmla="*/ 0 h 6884"/>
              <a:gd name="connsiteX1" fmla="*/ 6859 w 6859"/>
              <a:gd name="connsiteY1" fmla="*/ 6884 h 6884"/>
              <a:gd name="connsiteX2" fmla="*/ 6859 w 6859"/>
              <a:gd name="connsiteY2" fmla="*/ 5139 h 6884"/>
              <a:gd name="connsiteX3" fmla="*/ 6859 w 6859"/>
              <a:gd name="connsiteY3" fmla="*/ 5139 h 6884"/>
              <a:gd name="connsiteX4" fmla="*/ 1717 w 6859"/>
              <a:gd name="connsiteY4" fmla="*/ 0 h 6884"/>
              <a:gd name="connsiteX5" fmla="*/ 0 w 6859"/>
              <a:gd name="connsiteY5" fmla="*/ 0 h 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9" h="6884">
                <a:moveTo>
                  <a:pt x="0" y="0"/>
                </a:moveTo>
                <a:lnTo>
                  <a:pt x="6859" y="6884"/>
                </a:lnTo>
                <a:lnTo>
                  <a:pt x="6859" y="5139"/>
                </a:lnTo>
                <a:lnTo>
                  <a:pt x="6859" y="5139"/>
                </a:lnTo>
                <a:lnTo>
                  <a:pt x="171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35610" y="2971801"/>
            <a:ext cx="5536590" cy="150487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r>
              <a:rPr lang="hi-IN" sz="4000" dirty="0">
                <a:solidFill>
                  <a:schemeClr val="bg1"/>
                </a:solidFill>
                <a:latin typeface="+mj-lt"/>
              </a:rPr>
              <a:t>अधिकार अभिलेख सुधार</a:t>
            </a:r>
            <a:endParaRPr lang="en-US" sz="4000" b="1" i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45" name="Straight Connector 44"/>
          <p:cNvCxnSpPr>
            <a:stCxn id="9" idx="3"/>
          </p:cNvCxnSpPr>
          <p:nvPr/>
        </p:nvCxnSpPr>
        <p:spPr>
          <a:xfrm flipV="1">
            <a:off x="228599" y="6542318"/>
            <a:ext cx="10591801" cy="10882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95374" y="728032"/>
            <a:ext cx="2287423" cy="227626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214269" y="6132064"/>
            <a:ext cx="10591801" cy="343991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20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20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2000" dirty="0" err="1">
              <a:solidFill>
                <a:schemeClr val="bg2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/>
        </p:nvSpPr>
        <p:spPr bwMode="ltGray">
          <a:xfrm>
            <a:off x="10806070" y="6248400"/>
            <a:ext cx="928730" cy="227655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91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505027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i-IN" sz="3000" i="0" dirty="0"/>
              <a:t>पटवारी द्वारा आवेदन दर्ज करना </a:t>
            </a:r>
            <a:endParaRPr lang="en-US" sz="3000" i="0" dirty="0"/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667000" cy="5170646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ो "सेव" बटन पर क्लिक 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ो "फाइनल सेव " बटन पर क्लिक 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3859" y="838200"/>
            <a:ext cx="8802541" cy="517064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1541" y="4523371"/>
            <a:ext cx="4448796" cy="16480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038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81000" y="152400"/>
            <a:ext cx="11476724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i-IN" sz="3000" i="0" dirty="0"/>
              <a:t>तहसीलदार को आवेदन भेजना </a:t>
            </a:r>
            <a:endParaRPr lang="en-US" sz="3000" i="0" dirty="0"/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667000" cy="5416868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तत्पश्चात एक नयी स्क्रीन आएगी, यूजर द्वारा  “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OK”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क्लिक करने से आवेदन तहसीलदार को  प्रेषित कर दिया जाएगा |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400" y="838201"/>
            <a:ext cx="8763000" cy="541686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5463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40052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स्तिथि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3" y="630451"/>
            <a:ext cx="2663737" cy="5551520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आवेदन स्तिथि लिंक के अंतर्गत पटवारी यूजर द्वारा प्रेषित समस्त आवेदन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,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 वर्तमान आवेदन स्तिथि सहित प्रदर्शित होंग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hi-IN" dirty="0"/>
          </a:p>
        </p:txBody>
      </p:sp>
      <p:sp>
        <p:nvSpPr>
          <p:cNvPr id="12" name="TextBox 11"/>
          <p:cNvSpPr txBox="1"/>
          <p:nvPr/>
        </p:nvSpPr>
        <p:spPr>
          <a:xfrm>
            <a:off x="457200" y="5341203"/>
            <a:ext cx="8915400" cy="83099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hi-IN" altLang="ja-JP" dirty="0">
                <a:solidFill>
                  <a:srgbClr val="FF0000"/>
                </a:solidFill>
                <a:ea typeface="Segoe UI" pitchFamily="34" charset="0"/>
                <a:cs typeface="Segoe UI" pitchFamily="34" charset="0"/>
              </a:rPr>
              <a:t>नोट:कलेक्टर यूजर द्वारा आवेदन सफलतापूर्वक अनुमोदन किये जाने के पश्चात पटवारी यूजर द्वारा आदेश अनुपालन अथवा भूमि स्वामी सुधार के माध्यम से भूमिस्वामी जोड़ा जाना अनिवार्य होगा।</a:t>
            </a:r>
            <a:endParaRPr lang="en-US" altLang="ja-JP" dirty="0">
              <a:solidFill>
                <a:srgbClr val="FF0000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38200"/>
            <a:ext cx="8915400" cy="45030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3014929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>
            <p:custDataLst>
              <p:tags r:id="rId1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" name="Group 9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64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5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62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3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6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7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8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9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0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1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1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0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4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2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4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9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38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3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4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32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7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5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26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1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 rot="900000">
            <a:off x="3890364" y="-1018707"/>
            <a:ext cx="8163092" cy="7895681"/>
            <a:chOff x="3258468" y="0"/>
            <a:chExt cx="7434932" cy="7191375"/>
          </a:xfrm>
        </p:grpSpPr>
        <p:sp>
          <p:nvSpPr>
            <p:cNvPr id="13" name="Rounded Rectangle 12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 rot="900000">
            <a:off x="3854501" y="-983138"/>
            <a:ext cx="8163092" cy="7895681"/>
            <a:chOff x="3258468" y="0"/>
            <a:chExt cx="7434932" cy="7191375"/>
          </a:xfrm>
        </p:grpSpPr>
        <p:sp>
          <p:nvSpPr>
            <p:cNvPr id="68" name="Rounded Rectangle 67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69" name="Rectangle 68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1" name="Rectangle 70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5039772" y="914400"/>
            <a:ext cx="5049488" cy="1593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300000"/>
              </a:lnSpc>
            </a:pPr>
            <a:r>
              <a:rPr lang="hi-IN" sz="4000" dirty="0">
                <a:solidFill>
                  <a:schemeClr val="bg1"/>
                </a:solidFill>
                <a:latin typeface="+mj-lt"/>
              </a:rPr>
              <a:t>तहसीलदार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98576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33400" y="304799"/>
            <a:ext cx="8292737" cy="43978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sz="3000" b="1" dirty="0" err="1">
                <a:solidFill>
                  <a:schemeClr val="tx2"/>
                </a:solidFill>
                <a:latin typeface="+mj-lt"/>
              </a:rPr>
              <a:t>यूजर</a:t>
            </a:r>
            <a:r>
              <a:rPr lang="en-US" sz="3000" b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3000" b="1" dirty="0" err="1">
                <a:solidFill>
                  <a:schemeClr val="tx2"/>
                </a:solidFill>
                <a:latin typeface="+mj-lt"/>
              </a:rPr>
              <a:t>डैशबोर्ड</a:t>
            </a:r>
            <a:r>
              <a:rPr lang="en-US" sz="3000" b="1" dirty="0">
                <a:solidFill>
                  <a:schemeClr val="tx2"/>
                </a:solidFill>
                <a:latin typeface="+mj-lt"/>
              </a:rPr>
              <a:t> (</a:t>
            </a:r>
            <a:r>
              <a:rPr lang="hi-IN" sz="3000" b="1" dirty="0">
                <a:solidFill>
                  <a:schemeClr val="tx2"/>
                </a:solidFill>
                <a:latin typeface="+mj-lt"/>
              </a:rPr>
              <a:t>तहसीलदार यूजर</a:t>
            </a:r>
            <a:r>
              <a:rPr lang="en-US" sz="3000" b="1" dirty="0">
                <a:solidFill>
                  <a:schemeClr val="tx2"/>
                </a:solidFill>
                <a:latin typeface="+mj-lt"/>
              </a:rPr>
              <a:t>)</a:t>
            </a:r>
            <a:endParaRPr lang="en-GB" sz="3000" b="1" noProof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81000" y="113212"/>
            <a:ext cx="11476724" cy="6084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endParaRPr lang="en-GB" sz="3000" i="0" dirty="0">
              <a:solidFill>
                <a:schemeClr val="accent4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914400"/>
            <a:ext cx="8763000" cy="508354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8" name="Rectangle 57"/>
          <p:cNvSpPr/>
          <p:nvPr/>
        </p:nvSpPr>
        <p:spPr>
          <a:xfrm>
            <a:off x="9372600" y="838200"/>
            <a:ext cx="2743200" cy="5159746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तहसीलदार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अधिकार अभिलेख सुधार आइकॉन पर क्लिक करना होगा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r>
              <a:rPr lang="hi-IN" dirty="0"/>
              <a:t> </a:t>
            </a:r>
            <a:endParaRPr lang="en-US" dirty="0"/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0120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86676" y="152400"/>
            <a:ext cx="11476724" cy="6084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चयन 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61283"/>
            <a:ext cx="2587536" cy="5413020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्राप्त आवेदन लिंक के अंतर्गत पटवारी यूजर द्वारा प्रेषित समस्त आवेदन संख्या प्रदर्शित होंग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IN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lvl="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तहसीलदार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आवेदन संख्या पर क्लिक करना होगा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hi-IN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677" y="838199"/>
            <a:ext cx="8885924" cy="545149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10732521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517086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विस्तृत जानकारी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35380"/>
            <a:ext cx="2663736" cy="5413020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अधिकार अभिलेख सुधार हेतु आवेदन का सम्पूर्ण विवरण तहसीलदार यूजर को प्रदर्शित होगा 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तहसीलदार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“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स्वीकृत करें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”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बटन पर  क्लिक करना होगा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IN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hi-IN" dirty="0"/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199" y="838201"/>
            <a:ext cx="8915401" cy="28955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198" y="3810000"/>
            <a:ext cx="8915402" cy="24384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1772131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49531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तहसीलदार द्वारा आवेदन अनुमोदन 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743200" cy="5262979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तत्पश्चात एक नयी स्क्रीन आएगी, यूजर द्वारा  “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OK”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क्लिक करने से आवेदन  कलेक्टर को स्वीकृति हेतु प्रेषित कर दिया जाएगा |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75635"/>
            <a:ext cx="8839200" cy="519476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6058447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92034" y="152400"/>
            <a:ext cx="11471366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स्तिथि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38200"/>
            <a:ext cx="2663736" cy="5089855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भेजे गए आवेदन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लिंक के अंतर्गत तहसीलदार यूजर द्वारा प्रेषित समस्त आवेदन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,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 वर्तमान आवेदन स्तिथि सहित प्रदर्शित होंग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IN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IN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hi-IN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2035" y="838200"/>
            <a:ext cx="8880566" cy="508985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7217636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>
            <p:custDataLst>
              <p:tags r:id="rId1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" name="Group 9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64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5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62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3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6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7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8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9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0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1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1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0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4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2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4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9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38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3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4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32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7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5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26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1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 rot="900000">
            <a:off x="3890364" y="-1018707"/>
            <a:ext cx="8163092" cy="7895681"/>
            <a:chOff x="3258468" y="0"/>
            <a:chExt cx="7434932" cy="7191375"/>
          </a:xfrm>
        </p:grpSpPr>
        <p:sp>
          <p:nvSpPr>
            <p:cNvPr id="13" name="Rounded Rectangle 12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 rot="900000">
            <a:off x="3854501" y="-983138"/>
            <a:ext cx="8163092" cy="7895681"/>
            <a:chOff x="3258468" y="0"/>
            <a:chExt cx="7434932" cy="7191375"/>
          </a:xfrm>
        </p:grpSpPr>
        <p:sp>
          <p:nvSpPr>
            <p:cNvPr id="68" name="Rounded Rectangle 67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69" name="Rectangle 68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1" name="Rectangle 70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5039772" y="914400"/>
            <a:ext cx="5049488" cy="52874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300000"/>
              </a:lnSpc>
            </a:pPr>
            <a:endParaRPr lang="en-US" sz="4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300000"/>
              </a:lnSpc>
            </a:pPr>
            <a:r>
              <a:rPr lang="hi-IN" sz="4000" dirty="0">
                <a:solidFill>
                  <a:schemeClr val="bg1"/>
                </a:solidFill>
                <a:latin typeface="+mj-lt"/>
              </a:rPr>
              <a:t>कलेक्टर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300000"/>
              </a:lnSpc>
            </a:pPr>
            <a:endParaRPr lang="en-US" sz="40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904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4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rgbClr val="821A1A"/>
                </a:solidFill>
                <a:latin typeface="Arial"/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54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899010"/>
            <a:r>
              <a:rPr lang="en-US" sz="794" noProof="1">
                <a:solidFill>
                  <a:srgbClr val="000000"/>
                </a:solidFill>
                <a:latin typeface="Arial"/>
              </a:rPr>
              <a:t>-1 </a:t>
            </a:r>
            <a:endParaRPr lang="en-GB" sz="794" noProof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049965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899010"/>
            <a:endParaRPr lang="en-GB" sz="794" noProof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2" name="Freeform 5014"/>
          <p:cNvSpPr>
            <a:spLocks noEditPoints="1"/>
          </p:cNvSpPr>
          <p:nvPr/>
        </p:nvSpPr>
        <p:spPr bwMode="auto">
          <a:xfrm>
            <a:off x="65428" y="2693054"/>
            <a:ext cx="432639" cy="303721"/>
          </a:xfrm>
          <a:custGeom>
            <a:avLst/>
            <a:gdLst>
              <a:gd name="T0" fmla="*/ 360 w 360"/>
              <a:gd name="T1" fmla="*/ 256 h 278"/>
              <a:gd name="T2" fmla="*/ 360 w 360"/>
              <a:gd name="T3" fmla="*/ 252 h 278"/>
              <a:gd name="T4" fmla="*/ 358 w 360"/>
              <a:gd name="T5" fmla="*/ 252 h 278"/>
              <a:gd name="T6" fmla="*/ 318 w 360"/>
              <a:gd name="T7" fmla="*/ 200 h 278"/>
              <a:gd name="T8" fmla="*/ 314 w 360"/>
              <a:gd name="T9" fmla="*/ 198 h 278"/>
              <a:gd name="T10" fmla="*/ 50 w 360"/>
              <a:gd name="T11" fmla="*/ 196 h 278"/>
              <a:gd name="T12" fmla="*/ 46 w 360"/>
              <a:gd name="T13" fmla="*/ 198 h 278"/>
              <a:gd name="T14" fmla="*/ 2 w 360"/>
              <a:gd name="T15" fmla="*/ 250 h 278"/>
              <a:gd name="T16" fmla="*/ 2 w 360"/>
              <a:gd name="T17" fmla="*/ 252 h 278"/>
              <a:gd name="T18" fmla="*/ 0 w 360"/>
              <a:gd name="T19" fmla="*/ 252 h 278"/>
              <a:gd name="T20" fmla="*/ 0 w 360"/>
              <a:gd name="T21" fmla="*/ 256 h 278"/>
              <a:gd name="T22" fmla="*/ 0 w 360"/>
              <a:gd name="T23" fmla="*/ 256 h 278"/>
              <a:gd name="T24" fmla="*/ 0 w 360"/>
              <a:gd name="T25" fmla="*/ 268 h 278"/>
              <a:gd name="T26" fmla="*/ 4 w 360"/>
              <a:gd name="T27" fmla="*/ 276 h 278"/>
              <a:gd name="T28" fmla="*/ 10 w 360"/>
              <a:gd name="T29" fmla="*/ 278 h 278"/>
              <a:gd name="T30" fmla="*/ 350 w 360"/>
              <a:gd name="T31" fmla="*/ 278 h 278"/>
              <a:gd name="T32" fmla="*/ 356 w 360"/>
              <a:gd name="T33" fmla="*/ 276 h 278"/>
              <a:gd name="T34" fmla="*/ 360 w 360"/>
              <a:gd name="T35" fmla="*/ 268 h 278"/>
              <a:gd name="T36" fmla="*/ 360 w 360"/>
              <a:gd name="T37" fmla="*/ 256 h 278"/>
              <a:gd name="T38" fmla="*/ 360 w 360"/>
              <a:gd name="T39" fmla="*/ 256 h 278"/>
              <a:gd name="T40" fmla="*/ 146 w 360"/>
              <a:gd name="T41" fmla="*/ 234 h 278"/>
              <a:gd name="T42" fmla="*/ 226 w 360"/>
              <a:gd name="T43" fmla="*/ 254 h 278"/>
              <a:gd name="T44" fmla="*/ 338 w 360"/>
              <a:gd name="T45" fmla="*/ 268 h 278"/>
              <a:gd name="T46" fmla="*/ 334 w 360"/>
              <a:gd name="T47" fmla="*/ 270 h 278"/>
              <a:gd name="T48" fmla="*/ 332 w 360"/>
              <a:gd name="T49" fmla="*/ 270 h 278"/>
              <a:gd name="T50" fmla="*/ 326 w 360"/>
              <a:gd name="T51" fmla="*/ 268 h 278"/>
              <a:gd name="T52" fmla="*/ 324 w 360"/>
              <a:gd name="T53" fmla="*/ 262 h 278"/>
              <a:gd name="T54" fmla="*/ 326 w 360"/>
              <a:gd name="T55" fmla="*/ 256 h 278"/>
              <a:gd name="T56" fmla="*/ 328 w 360"/>
              <a:gd name="T57" fmla="*/ 256 h 278"/>
              <a:gd name="T58" fmla="*/ 334 w 360"/>
              <a:gd name="T59" fmla="*/ 256 h 278"/>
              <a:gd name="T60" fmla="*/ 338 w 360"/>
              <a:gd name="T61" fmla="*/ 256 h 278"/>
              <a:gd name="T62" fmla="*/ 340 w 360"/>
              <a:gd name="T63" fmla="*/ 262 h 278"/>
              <a:gd name="T64" fmla="*/ 340 w 360"/>
              <a:gd name="T65" fmla="*/ 266 h 278"/>
              <a:gd name="T66" fmla="*/ 338 w 360"/>
              <a:gd name="T67" fmla="*/ 268 h 278"/>
              <a:gd name="T68" fmla="*/ 306 w 360"/>
              <a:gd name="T69" fmla="*/ 184 h 278"/>
              <a:gd name="T70" fmla="*/ 310 w 360"/>
              <a:gd name="T71" fmla="*/ 184 h 278"/>
              <a:gd name="T72" fmla="*/ 318 w 360"/>
              <a:gd name="T73" fmla="*/ 178 h 278"/>
              <a:gd name="T74" fmla="*/ 318 w 360"/>
              <a:gd name="T75" fmla="*/ 12 h 278"/>
              <a:gd name="T76" fmla="*/ 318 w 360"/>
              <a:gd name="T77" fmla="*/ 6 h 278"/>
              <a:gd name="T78" fmla="*/ 310 w 360"/>
              <a:gd name="T79" fmla="*/ 0 h 278"/>
              <a:gd name="T80" fmla="*/ 54 w 360"/>
              <a:gd name="T81" fmla="*/ 0 h 278"/>
              <a:gd name="T82" fmla="*/ 50 w 360"/>
              <a:gd name="T83" fmla="*/ 0 h 278"/>
              <a:gd name="T84" fmla="*/ 42 w 360"/>
              <a:gd name="T85" fmla="*/ 6 h 278"/>
              <a:gd name="T86" fmla="*/ 42 w 360"/>
              <a:gd name="T87" fmla="*/ 172 h 278"/>
              <a:gd name="T88" fmla="*/ 42 w 360"/>
              <a:gd name="T89" fmla="*/ 178 h 278"/>
              <a:gd name="T90" fmla="*/ 50 w 360"/>
              <a:gd name="T91" fmla="*/ 184 h 278"/>
              <a:gd name="T92" fmla="*/ 54 w 360"/>
              <a:gd name="T93" fmla="*/ 184 h 278"/>
              <a:gd name="T94" fmla="*/ 294 w 360"/>
              <a:gd name="T95" fmla="*/ 24 h 278"/>
              <a:gd name="T96" fmla="*/ 66 w 360"/>
              <a:gd name="T97" fmla="*/ 16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78">
                <a:moveTo>
                  <a:pt x="360" y="256"/>
                </a:moveTo>
                <a:lnTo>
                  <a:pt x="360" y="256"/>
                </a:lnTo>
                <a:lnTo>
                  <a:pt x="360" y="252"/>
                </a:lnTo>
                <a:lnTo>
                  <a:pt x="360" y="252"/>
                </a:lnTo>
                <a:lnTo>
                  <a:pt x="358" y="252"/>
                </a:lnTo>
                <a:lnTo>
                  <a:pt x="358" y="252"/>
                </a:lnTo>
                <a:lnTo>
                  <a:pt x="358" y="250"/>
                </a:lnTo>
                <a:lnTo>
                  <a:pt x="318" y="200"/>
                </a:lnTo>
                <a:lnTo>
                  <a:pt x="318" y="200"/>
                </a:lnTo>
                <a:lnTo>
                  <a:pt x="314" y="198"/>
                </a:lnTo>
                <a:lnTo>
                  <a:pt x="310" y="196"/>
                </a:lnTo>
                <a:lnTo>
                  <a:pt x="50" y="196"/>
                </a:lnTo>
                <a:lnTo>
                  <a:pt x="50" y="196"/>
                </a:lnTo>
                <a:lnTo>
                  <a:pt x="46" y="198"/>
                </a:lnTo>
                <a:lnTo>
                  <a:pt x="42" y="200"/>
                </a:lnTo>
                <a:lnTo>
                  <a:pt x="2" y="250"/>
                </a:lnTo>
                <a:lnTo>
                  <a:pt x="2" y="250"/>
                </a:lnTo>
                <a:lnTo>
                  <a:pt x="2" y="252"/>
                </a:lnTo>
                <a:lnTo>
                  <a:pt x="2" y="252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56"/>
                </a:lnTo>
                <a:lnTo>
                  <a:pt x="0" y="256"/>
                </a:lnTo>
                <a:lnTo>
                  <a:pt x="0" y="268"/>
                </a:lnTo>
                <a:lnTo>
                  <a:pt x="0" y="268"/>
                </a:lnTo>
                <a:lnTo>
                  <a:pt x="0" y="272"/>
                </a:lnTo>
                <a:lnTo>
                  <a:pt x="4" y="276"/>
                </a:lnTo>
                <a:lnTo>
                  <a:pt x="6" y="278"/>
                </a:lnTo>
                <a:lnTo>
                  <a:pt x="10" y="278"/>
                </a:lnTo>
                <a:lnTo>
                  <a:pt x="350" y="278"/>
                </a:lnTo>
                <a:lnTo>
                  <a:pt x="350" y="278"/>
                </a:lnTo>
                <a:lnTo>
                  <a:pt x="354" y="278"/>
                </a:lnTo>
                <a:lnTo>
                  <a:pt x="356" y="276"/>
                </a:lnTo>
                <a:lnTo>
                  <a:pt x="360" y="272"/>
                </a:lnTo>
                <a:lnTo>
                  <a:pt x="360" y="26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close/>
                <a:moveTo>
                  <a:pt x="134" y="254"/>
                </a:moveTo>
                <a:lnTo>
                  <a:pt x="146" y="234"/>
                </a:lnTo>
                <a:lnTo>
                  <a:pt x="214" y="234"/>
                </a:lnTo>
                <a:lnTo>
                  <a:pt x="226" y="254"/>
                </a:lnTo>
                <a:lnTo>
                  <a:pt x="134" y="254"/>
                </a:lnTo>
                <a:close/>
                <a:moveTo>
                  <a:pt x="338" y="268"/>
                </a:moveTo>
                <a:lnTo>
                  <a:pt x="338" y="268"/>
                </a:lnTo>
                <a:lnTo>
                  <a:pt x="334" y="270"/>
                </a:lnTo>
                <a:lnTo>
                  <a:pt x="332" y="270"/>
                </a:lnTo>
                <a:lnTo>
                  <a:pt x="332" y="270"/>
                </a:lnTo>
                <a:lnTo>
                  <a:pt x="326" y="268"/>
                </a:lnTo>
                <a:lnTo>
                  <a:pt x="326" y="268"/>
                </a:lnTo>
                <a:lnTo>
                  <a:pt x="324" y="262"/>
                </a:lnTo>
                <a:lnTo>
                  <a:pt x="324" y="262"/>
                </a:lnTo>
                <a:lnTo>
                  <a:pt x="324" y="260"/>
                </a:lnTo>
                <a:lnTo>
                  <a:pt x="326" y="256"/>
                </a:lnTo>
                <a:lnTo>
                  <a:pt x="326" y="256"/>
                </a:lnTo>
                <a:lnTo>
                  <a:pt x="328" y="256"/>
                </a:lnTo>
                <a:lnTo>
                  <a:pt x="332" y="254"/>
                </a:lnTo>
                <a:lnTo>
                  <a:pt x="334" y="256"/>
                </a:lnTo>
                <a:lnTo>
                  <a:pt x="338" y="256"/>
                </a:lnTo>
                <a:lnTo>
                  <a:pt x="338" y="256"/>
                </a:lnTo>
                <a:lnTo>
                  <a:pt x="340" y="260"/>
                </a:lnTo>
                <a:lnTo>
                  <a:pt x="340" y="262"/>
                </a:lnTo>
                <a:lnTo>
                  <a:pt x="340" y="262"/>
                </a:lnTo>
                <a:lnTo>
                  <a:pt x="340" y="266"/>
                </a:lnTo>
                <a:lnTo>
                  <a:pt x="338" y="268"/>
                </a:lnTo>
                <a:lnTo>
                  <a:pt x="338" y="268"/>
                </a:lnTo>
                <a:close/>
                <a:moveTo>
                  <a:pt x="54" y="184"/>
                </a:moveTo>
                <a:lnTo>
                  <a:pt x="306" y="184"/>
                </a:lnTo>
                <a:lnTo>
                  <a:pt x="306" y="184"/>
                </a:lnTo>
                <a:lnTo>
                  <a:pt x="310" y="184"/>
                </a:lnTo>
                <a:lnTo>
                  <a:pt x="314" y="182"/>
                </a:lnTo>
                <a:lnTo>
                  <a:pt x="318" y="178"/>
                </a:lnTo>
                <a:lnTo>
                  <a:pt x="318" y="172"/>
                </a:lnTo>
                <a:lnTo>
                  <a:pt x="318" y="12"/>
                </a:lnTo>
                <a:lnTo>
                  <a:pt x="318" y="12"/>
                </a:lnTo>
                <a:lnTo>
                  <a:pt x="318" y="6"/>
                </a:lnTo>
                <a:lnTo>
                  <a:pt x="314" y="2"/>
                </a:lnTo>
                <a:lnTo>
                  <a:pt x="310" y="0"/>
                </a:lnTo>
                <a:lnTo>
                  <a:pt x="306" y="0"/>
                </a:lnTo>
                <a:lnTo>
                  <a:pt x="54" y="0"/>
                </a:lnTo>
                <a:lnTo>
                  <a:pt x="54" y="0"/>
                </a:lnTo>
                <a:lnTo>
                  <a:pt x="50" y="0"/>
                </a:lnTo>
                <a:lnTo>
                  <a:pt x="46" y="2"/>
                </a:lnTo>
                <a:lnTo>
                  <a:pt x="42" y="6"/>
                </a:lnTo>
                <a:lnTo>
                  <a:pt x="42" y="12"/>
                </a:lnTo>
                <a:lnTo>
                  <a:pt x="42" y="172"/>
                </a:lnTo>
                <a:lnTo>
                  <a:pt x="42" y="172"/>
                </a:lnTo>
                <a:lnTo>
                  <a:pt x="42" y="178"/>
                </a:lnTo>
                <a:lnTo>
                  <a:pt x="46" y="182"/>
                </a:lnTo>
                <a:lnTo>
                  <a:pt x="50" y="184"/>
                </a:lnTo>
                <a:lnTo>
                  <a:pt x="54" y="184"/>
                </a:lnTo>
                <a:lnTo>
                  <a:pt x="54" y="184"/>
                </a:lnTo>
                <a:close/>
                <a:moveTo>
                  <a:pt x="66" y="24"/>
                </a:moveTo>
                <a:lnTo>
                  <a:pt x="294" y="24"/>
                </a:lnTo>
                <a:lnTo>
                  <a:pt x="294" y="160"/>
                </a:lnTo>
                <a:lnTo>
                  <a:pt x="66" y="160"/>
                </a:lnTo>
                <a:lnTo>
                  <a:pt x="66" y="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935" tIns="41468" rIns="82935" bIns="41468" numCol="1" anchor="t" anchorCtr="0" compatLnSpc="1">
            <a:prstTxWarp prst="textNoShape">
              <a:avLst/>
            </a:prstTxWarp>
          </a:bodyPr>
          <a:lstStyle/>
          <a:p>
            <a:pPr defTabSz="924073">
              <a:defRPr/>
            </a:pPr>
            <a:endParaRPr lang="en-GB" sz="14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3" name="Title 1"/>
          <p:cNvSpPr txBox="1">
            <a:spLocks/>
          </p:cNvSpPr>
          <p:nvPr/>
        </p:nvSpPr>
        <p:spPr>
          <a:xfrm>
            <a:off x="498066" y="76200"/>
            <a:ext cx="11570772" cy="13415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br>
              <a:rPr lang="en-GB" sz="3000" dirty="0"/>
            </a:br>
            <a:endParaRPr lang="en-GB" sz="3200" i="0" dirty="0">
              <a:solidFill>
                <a:schemeClr val="accent4"/>
              </a:solidFill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345542" y="76200"/>
            <a:ext cx="723296" cy="719768"/>
          </a:xfrm>
          <a:prstGeom prst="rect">
            <a:avLst/>
          </a:prstGeom>
        </p:spPr>
      </p:pic>
      <p:sp>
        <p:nvSpPr>
          <p:cNvPr id="55" name="Rectangle 1"/>
          <p:cNvSpPr>
            <a:spLocks noChangeArrowheads="1"/>
          </p:cNvSpPr>
          <p:nvPr/>
        </p:nvSpPr>
        <p:spPr bwMode="auto">
          <a:xfrm>
            <a:off x="500244" y="1143000"/>
            <a:ext cx="11021196" cy="267765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rgbClr val="212121"/>
              </a:solidFill>
              <a:effectLst/>
              <a:latin typeface="inherit"/>
              <a:cs typeface="Mangal"/>
            </a:endParaRPr>
          </a:p>
          <a:p>
            <a:pPr marL="342900" indent="-342900" fontAlgn="base">
              <a:lnSpc>
                <a:spcPct val="30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त्रुटिपूर्ण अधिकार अभिलेख में सुधार हेतु आवेदन करने के लिए पटवारी डैशबोर्ड में सुविधा </a:t>
            </a:r>
          </a:p>
          <a:p>
            <a:pPr marL="342900" indent="-342900" fontAlgn="base">
              <a:lnSpc>
                <a:spcPct val="30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ग्राम के समस्त त्रुटिपूर्ण अधिकार अभिलेख का एक आवेदन द्वारा सुधार </a:t>
            </a:r>
            <a:endParaRPr lang="en-US" alt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 fontAlgn="base">
              <a:lnSpc>
                <a:spcPct val="30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hi-IN" altLang="en-US" dirty="0">
                <a:solidFill>
                  <a:srgbClr val="000000"/>
                </a:solidFill>
                <a:latin typeface="Arial" panose="020B0604020202020204" pitchFamily="34" charset="0"/>
              </a:rPr>
              <a:t>तहसीलदार/कलेक्टर द्वारा त्रुटिपूर्ण अधिकार अभिलेखों के सुधार की प्रगति हेतु मॉनिटरिंग की सुविधा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Rectangle 4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5" name="Rectangle 5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" name="Title 1"/>
          <p:cNvSpPr txBox="1">
            <a:spLocks/>
          </p:cNvSpPr>
          <p:nvPr/>
        </p:nvSpPr>
        <p:spPr>
          <a:xfrm>
            <a:off x="498067" y="-437247"/>
            <a:ext cx="11476724" cy="13849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br>
              <a:rPr lang="en-GB" sz="3000" dirty="0"/>
            </a:br>
            <a:r>
              <a:rPr lang="hi-IN" sz="3000" i="0" dirty="0"/>
              <a:t>अधिकार अभिलेख सुधार प्रक्रिया </a:t>
            </a:r>
            <a:endParaRPr lang="en-US" sz="3000" i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0733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86676" y="152400"/>
            <a:ext cx="11476724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i="0" dirty="0" err="1"/>
              <a:t>यूजर</a:t>
            </a:r>
            <a:r>
              <a:rPr lang="en-US" sz="3000" i="0" dirty="0"/>
              <a:t> </a:t>
            </a:r>
            <a:r>
              <a:rPr lang="en-US" sz="3000" i="0" dirty="0" err="1"/>
              <a:t>डैशबोर्ड</a:t>
            </a:r>
            <a:r>
              <a:rPr lang="en-US" sz="3000" i="0" dirty="0"/>
              <a:t> (</a:t>
            </a:r>
            <a:r>
              <a:rPr lang="hi-IN" sz="3000" i="0" dirty="0"/>
              <a:t>कलेक्टर यूजर</a:t>
            </a:r>
            <a:r>
              <a:rPr lang="en-US" sz="3000" i="0" dirty="0"/>
              <a:t>)</a:t>
            </a:r>
            <a:endParaRPr lang="en-GB" sz="3000" i="0" noProof="1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914401"/>
            <a:ext cx="8763000" cy="511451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8" name="Rectangle 57"/>
          <p:cNvSpPr/>
          <p:nvPr/>
        </p:nvSpPr>
        <p:spPr>
          <a:xfrm>
            <a:off x="9372599" y="838200"/>
            <a:ext cx="2667001" cy="5190716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कलेक्टर</a:t>
            </a:r>
            <a:r>
              <a:rPr lang="en-US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अधिकार अभिलेख सुधार आइकॉन पर क्लिक करना होगा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694" algn="just" eaLnBrk="0" hangingPunct="0">
              <a:buSzPct val="100000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r>
              <a:rPr lang="hi-IN" dirty="0"/>
              <a:t> </a:t>
            </a:r>
            <a:endParaRPr lang="en-IN" dirty="0"/>
          </a:p>
          <a:p>
            <a:pPr marL="1694" algn="just" eaLnBrk="0" hangingPunct="0">
              <a:buSzPct val="100000"/>
            </a:pPr>
            <a:endParaRPr lang="en-US" dirty="0"/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30048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40052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चयन 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653534"/>
            <a:ext cx="2663736" cy="5396349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्राप्त आवेदन लिंक के अंतर्गत </a:t>
            </a: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तहसीलदार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 यूजर द्वारा प्रेषित समस्त आवेदन संख्या प्रदर्शित होंग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IN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lvl="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कलेक्टर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आवेदन संख्या पर क्लिक करना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होगा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62824"/>
            <a:ext cx="8915400" cy="500239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9521839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40052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विस्तृत जानकारी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571158" y="838200"/>
            <a:ext cx="2544642" cy="5366854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अधिकार अभिलेख सुधार हेतु आवेदन का सम्पूर्ण विवरण </a:t>
            </a:r>
            <a:r>
              <a:rPr lang="hi-IN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कलेक्टर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 यूजर को प्रदर्शित होगा ।</a:t>
            </a: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कलेक्टर 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यूजर को</a:t>
            </a:r>
            <a:r>
              <a:rPr lang="en-IN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“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स्वीकृत करें</a:t>
            </a: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” 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बटन पर  क्लिक करना होगा</a:t>
            </a: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hi-IN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" y="838201"/>
            <a:ext cx="8994865" cy="27432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3666733"/>
            <a:ext cx="8994865" cy="250546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21544037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533400" y="221903"/>
            <a:ext cx="13536301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कलेक्टर द्वारा आवेदन अनुमोदन </a:t>
            </a:r>
            <a:endParaRPr lang="en-GB" sz="3000" i="0" dirty="0"/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743200" cy="5201424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तत्पश्चात एक नयी स्क्रीन आएगी, यूजर द्वारा  “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OK”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क्लिक करने से आवेदन  सफलतापूर्वक अनुमोदित  कर दिया जाएगा |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56593"/>
            <a:ext cx="8915400" cy="520142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8431724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06141"/>
            <a:ext cx="13514817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स्तिथि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38200"/>
            <a:ext cx="2587536" cy="5366854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dirty="0"/>
              <a:t>भेजे गए आवेदन संख्या</a:t>
            </a:r>
            <a:r>
              <a:rPr lang="en-IN" dirty="0"/>
              <a:t> </a:t>
            </a:r>
            <a:r>
              <a:rPr lang="hi-IN" dirty="0"/>
              <a:t>लिंक के अंतर्गत कलेक्टर यूजर द्वारा प्रसंस्कृत समस्त आवेदन प्रदर्शित होंगे ।</a:t>
            </a: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hi-IN" dirty="0"/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199" y="838200"/>
            <a:ext cx="8915401" cy="53340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13077945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1" y="152400"/>
            <a:ext cx="1140052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कलेक्टर अनुमोदन पश्चात रिकॉर्ड अद्यतन 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38200"/>
            <a:ext cx="2587536" cy="5089855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कलेक्टर अनुमोदन पश्चात भूलेख पोर्टल पर रिकॉर्ड का अद्यतन कर दिया जाएगा जिसे भू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-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लेख सर्च के द्वारा ऑनलाइन देखा जा सकता है 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hi-IN" dirty="0"/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1" y="838200"/>
            <a:ext cx="8904325" cy="508985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10768092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id" hidden="1"/>
          <p:cNvGrpSpPr/>
          <p:nvPr>
            <p:custDataLst>
              <p:tags r:id="rId1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8" name="Group 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6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7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8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3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4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10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1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7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9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2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41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3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3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5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7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4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9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1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5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3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5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6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7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9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413698" name="AutoShape 2" descr="Image result for emoji folded hands"/>
          <p:cNvSpPr>
            <a:spLocks noChangeAspect="1" noChangeArrowheads="1"/>
          </p:cNvSpPr>
          <p:nvPr/>
        </p:nvSpPr>
        <p:spPr bwMode="auto">
          <a:xfrm>
            <a:off x="188577" y="-127466"/>
            <a:ext cx="369455" cy="268943"/>
          </a:xfrm>
          <a:prstGeom prst="rect">
            <a:avLst/>
          </a:prstGeom>
          <a:noFill/>
        </p:spPr>
        <p:txBody>
          <a:bodyPr vert="horz" wrap="square" lIns="97683" tIns="48841" rIns="97683" bIns="48841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pic>
        <p:nvPicPr>
          <p:cNvPr id="7" name="Picture 6" descr="folded_Hand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764918" y="3320128"/>
            <a:ext cx="4345489" cy="3163261"/>
          </a:xfrm>
          <a:prstGeom prst="rect">
            <a:avLst/>
          </a:prstGeom>
        </p:spPr>
      </p:pic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0721" y="925863"/>
            <a:ext cx="11646903" cy="2579191"/>
          </a:xfrm>
        </p:spPr>
        <p:txBody>
          <a:bodyPr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hi-IN" sz="6400" b="1" dirty="0"/>
              <a:t>आपके सुझाव</a:t>
            </a:r>
            <a:endParaRPr lang="en-US" sz="6400" b="1" dirty="0"/>
          </a:p>
        </p:txBody>
      </p:sp>
    </p:spTree>
    <p:extLst>
      <p:ext uri="{BB962C8B-B14F-4D97-AF65-F5344CB8AC3E}">
        <p14:creationId xmlns:p14="http://schemas.microsoft.com/office/powerpoint/2010/main" val="10604543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4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rgbClr val="821A1A"/>
                </a:solidFill>
                <a:latin typeface="Arial"/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54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899010"/>
            <a:r>
              <a:rPr lang="en-US" sz="794" noProof="1">
                <a:solidFill>
                  <a:srgbClr val="000000"/>
                </a:solidFill>
                <a:latin typeface="Arial"/>
              </a:rPr>
              <a:t>-1 </a:t>
            </a:r>
            <a:endParaRPr lang="en-GB" sz="794" noProof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049965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899010"/>
            <a:endParaRPr lang="en-GB" sz="794" noProof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2" name="Freeform 5014"/>
          <p:cNvSpPr>
            <a:spLocks noEditPoints="1"/>
          </p:cNvSpPr>
          <p:nvPr/>
        </p:nvSpPr>
        <p:spPr bwMode="auto">
          <a:xfrm>
            <a:off x="65428" y="2693054"/>
            <a:ext cx="432639" cy="303721"/>
          </a:xfrm>
          <a:custGeom>
            <a:avLst/>
            <a:gdLst>
              <a:gd name="T0" fmla="*/ 360 w 360"/>
              <a:gd name="T1" fmla="*/ 256 h 278"/>
              <a:gd name="T2" fmla="*/ 360 w 360"/>
              <a:gd name="T3" fmla="*/ 252 h 278"/>
              <a:gd name="T4" fmla="*/ 358 w 360"/>
              <a:gd name="T5" fmla="*/ 252 h 278"/>
              <a:gd name="T6" fmla="*/ 318 w 360"/>
              <a:gd name="T7" fmla="*/ 200 h 278"/>
              <a:gd name="T8" fmla="*/ 314 w 360"/>
              <a:gd name="T9" fmla="*/ 198 h 278"/>
              <a:gd name="T10" fmla="*/ 50 w 360"/>
              <a:gd name="T11" fmla="*/ 196 h 278"/>
              <a:gd name="T12" fmla="*/ 46 w 360"/>
              <a:gd name="T13" fmla="*/ 198 h 278"/>
              <a:gd name="T14" fmla="*/ 2 w 360"/>
              <a:gd name="T15" fmla="*/ 250 h 278"/>
              <a:gd name="T16" fmla="*/ 2 w 360"/>
              <a:gd name="T17" fmla="*/ 252 h 278"/>
              <a:gd name="T18" fmla="*/ 0 w 360"/>
              <a:gd name="T19" fmla="*/ 252 h 278"/>
              <a:gd name="T20" fmla="*/ 0 w 360"/>
              <a:gd name="T21" fmla="*/ 256 h 278"/>
              <a:gd name="T22" fmla="*/ 0 w 360"/>
              <a:gd name="T23" fmla="*/ 256 h 278"/>
              <a:gd name="T24" fmla="*/ 0 w 360"/>
              <a:gd name="T25" fmla="*/ 268 h 278"/>
              <a:gd name="T26" fmla="*/ 4 w 360"/>
              <a:gd name="T27" fmla="*/ 276 h 278"/>
              <a:gd name="T28" fmla="*/ 10 w 360"/>
              <a:gd name="T29" fmla="*/ 278 h 278"/>
              <a:gd name="T30" fmla="*/ 350 w 360"/>
              <a:gd name="T31" fmla="*/ 278 h 278"/>
              <a:gd name="T32" fmla="*/ 356 w 360"/>
              <a:gd name="T33" fmla="*/ 276 h 278"/>
              <a:gd name="T34" fmla="*/ 360 w 360"/>
              <a:gd name="T35" fmla="*/ 268 h 278"/>
              <a:gd name="T36" fmla="*/ 360 w 360"/>
              <a:gd name="T37" fmla="*/ 256 h 278"/>
              <a:gd name="T38" fmla="*/ 360 w 360"/>
              <a:gd name="T39" fmla="*/ 256 h 278"/>
              <a:gd name="T40" fmla="*/ 146 w 360"/>
              <a:gd name="T41" fmla="*/ 234 h 278"/>
              <a:gd name="T42" fmla="*/ 226 w 360"/>
              <a:gd name="T43" fmla="*/ 254 h 278"/>
              <a:gd name="T44" fmla="*/ 338 w 360"/>
              <a:gd name="T45" fmla="*/ 268 h 278"/>
              <a:gd name="T46" fmla="*/ 334 w 360"/>
              <a:gd name="T47" fmla="*/ 270 h 278"/>
              <a:gd name="T48" fmla="*/ 332 w 360"/>
              <a:gd name="T49" fmla="*/ 270 h 278"/>
              <a:gd name="T50" fmla="*/ 326 w 360"/>
              <a:gd name="T51" fmla="*/ 268 h 278"/>
              <a:gd name="T52" fmla="*/ 324 w 360"/>
              <a:gd name="T53" fmla="*/ 262 h 278"/>
              <a:gd name="T54" fmla="*/ 326 w 360"/>
              <a:gd name="T55" fmla="*/ 256 h 278"/>
              <a:gd name="T56" fmla="*/ 328 w 360"/>
              <a:gd name="T57" fmla="*/ 256 h 278"/>
              <a:gd name="T58" fmla="*/ 334 w 360"/>
              <a:gd name="T59" fmla="*/ 256 h 278"/>
              <a:gd name="T60" fmla="*/ 338 w 360"/>
              <a:gd name="T61" fmla="*/ 256 h 278"/>
              <a:gd name="T62" fmla="*/ 340 w 360"/>
              <a:gd name="T63" fmla="*/ 262 h 278"/>
              <a:gd name="T64" fmla="*/ 340 w 360"/>
              <a:gd name="T65" fmla="*/ 266 h 278"/>
              <a:gd name="T66" fmla="*/ 338 w 360"/>
              <a:gd name="T67" fmla="*/ 268 h 278"/>
              <a:gd name="T68" fmla="*/ 306 w 360"/>
              <a:gd name="T69" fmla="*/ 184 h 278"/>
              <a:gd name="T70" fmla="*/ 310 w 360"/>
              <a:gd name="T71" fmla="*/ 184 h 278"/>
              <a:gd name="T72" fmla="*/ 318 w 360"/>
              <a:gd name="T73" fmla="*/ 178 h 278"/>
              <a:gd name="T74" fmla="*/ 318 w 360"/>
              <a:gd name="T75" fmla="*/ 12 h 278"/>
              <a:gd name="T76" fmla="*/ 318 w 360"/>
              <a:gd name="T77" fmla="*/ 6 h 278"/>
              <a:gd name="T78" fmla="*/ 310 w 360"/>
              <a:gd name="T79" fmla="*/ 0 h 278"/>
              <a:gd name="T80" fmla="*/ 54 w 360"/>
              <a:gd name="T81" fmla="*/ 0 h 278"/>
              <a:gd name="T82" fmla="*/ 50 w 360"/>
              <a:gd name="T83" fmla="*/ 0 h 278"/>
              <a:gd name="T84" fmla="*/ 42 w 360"/>
              <a:gd name="T85" fmla="*/ 6 h 278"/>
              <a:gd name="T86" fmla="*/ 42 w 360"/>
              <a:gd name="T87" fmla="*/ 172 h 278"/>
              <a:gd name="T88" fmla="*/ 42 w 360"/>
              <a:gd name="T89" fmla="*/ 178 h 278"/>
              <a:gd name="T90" fmla="*/ 50 w 360"/>
              <a:gd name="T91" fmla="*/ 184 h 278"/>
              <a:gd name="T92" fmla="*/ 54 w 360"/>
              <a:gd name="T93" fmla="*/ 184 h 278"/>
              <a:gd name="T94" fmla="*/ 294 w 360"/>
              <a:gd name="T95" fmla="*/ 24 h 278"/>
              <a:gd name="T96" fmla="*/ 66 w 360"/>
              <a:gd name="T97" fmla="*/ 16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78">
                <a:moveTo>
                  <a:pt x="360" y="256"/>
                </a:moveTo>
                <a:lnTo>
                  <a:pt x="360" y="256"/>
                </a:lnTo>
                <a:lnTo>
                  <a:pt x="360" y="252"/>
                </a:lnTo>
                <a:lnTo>
                  <a:pt x="360" y="252"/>
                </a:lnTo>
                <a:lnTo>
                  <a:pt x="358" y="252"/>
                </a:lnTo>
                <a:lnTo>
                  <a:pt x="358" y="252"/>
                </a:lnTo>
                <a:lnTo>
                  <a:pt x="358" y="250"/>
                </a:lnTo>
                <a:lnTo>
                  <a:pt x="318" y="200"/>
                </a:lnTo>
                <a:lnTo>
                  <a:pt x="318" y="200"/>
                </a:lnTo>
                <a:lnTo>
                  <a:pt x="314" y="198"/>
                </a:lnTo>
                <a:lnTo>
                  <a:pt x="310" y="196"/>
                </a:lnTo>
                <a:lnTo>
                  <a:pt x="50" y="196"/>
                </a:lnTo>
                <a:lnTo>
                  <a:pt x="50" y="196"/>
                </a:lnTo>
                <a:lnTo>
                  <a:pt x="46" y="198"/>
                </a:lnTo>
                <a:lnTo>
                  <a:pt x="42" y="200"/>
                </a:lnTo>
                <a:lnTo>
                  <a:pt x="2" y="250"/>
                </a:lnTo>
                <a:lnTo>
                  <a:pt x="2" y="250"/>
                </a:lnTo>
                <a:lnTo>
                  <a:pt x="2" y="252"/>
                </a:lnTo>
                <a:lnTo>
                  <a:pt x="2" y="252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56"/>
                </a:lnTo>
                <a:lnTo>
                  <a:pt x="0" y="256"/>
                </a:lnTo>
                <a:lnTo>
                  <a:pt x="0" y="268"/>
                </a:lnTo>
                <a:lnTo>
                  <a:pt x="0" y="268"/>
                </a:lnTo>
                <a:lnTo>
                  <a:pt x="0" y="272"/>
                </a:lnTo>
                <a:lnTo>
                  <a:pt x="4" y="276"/>
                </a:lnTo>
                <a:lnTo>
                  <a:pt x="6" y="278"/>
                </a:lnTo>
                <a:lnTo>
                  <a:pt x="10" y="278"/>
                </a:lnTo>
                <a:lnTo>
                  <a:pt x="350" y="278"/>
                </a:lnTo>
                <a:lnTo>
                  <a:pt x="350" y="278"/>
                </a:lnTo>
                <a:lnTo>
                  <a:pt x="354" y="278"/>
                </a:lnTo>
                <a:lnTo>
                  <a:pt x="356" y="276"/>
                </a:lnTo>
                <a:lnTo>
                  <a:pt x="360" y="272"/>
                </a:lnTo>
                <a:lnTo>
                  <a:pt x="360" y="26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close/>
                <a:moveTo>
                  <a:pt x="134" y="254"/>
                </a:moveTo>
                <a:lnTo>
                  <a:pt x="146" y="234"/>
                </a:lnTo>
                <a:lnTo>
                  <a:pt x="214" y="234"/>
                </a:lnTo>
                <a:lnTo>
                  <a:pt x="226" y="254"/>
                </a:lnTo>
                <a:lnTo>
                  <a:pt x="134" y="254"/>
                </a:lnTo>
                <a:close/>
                <a:moveTo>
                  <a:pt x="338" y="268"/>
                </a:moveTo>
                <a:lnTo>
                  <a:pt x="338" y="268"/>
                </a:lnTo>
                <a:lnTo>
                  <a:pt x="334" y="270"/>
                </a:lnTo>
                <a:lnTo>
                  <a:pt x="332" y="270"/>
                </a:lnTo>
                <a:lnTo>
                  <a:pt x="332" y="270"/>
                </a:lnTo>
                <a:lnTo>
                  <a:pt x="326" y="268"/>
                </a:lnTo>
                <a:lnTo>
                  <a:pt x="326" y="268"/>
                </a:lnTo>
                <a:lnTo>
                  <a:pt x="324" y="262"/>
                </a:lnTo>
                <a:lnTo>
                  <a:pt x="324" y="262"/>
                </a:lnTo>
                <a:lnTo>
                  <a:pt x="324" y="260"/>
                </a:lnTo>
                <a:lnTo>
                  <a:pt x="326" y="256"/>
                </a:lnTo>
                <a:lnTo>
                  <a:pt x="326" y="256"/>
                </a:lnTo>
                <a:lnTo>
                  <a:pt x="328" y="256"/>
                </a:lnTo>
                <a:lnTo>
                  <a:pt x="332" y="254"/>
                </a:lnTo>
                <a:lnTo>
                  <a:pt x="334" y="256"/>
                </a:lnTo>
                <a:lnTo>
                  <a:pt x="338" y="256"/>
                </a:lnTo>
                <a:lnTo>
                  <a:pt x="338" y="256"/>
                </a:lnTo>
                <a:lnTo>
                  <a:pt x="340" y="260"/>
                </a:lnTo>
                <a:lnTo>
                  <a:pt x="340" y="262"/>
                </a:lnTo>
                <a:lnTo>
                  <a:pt x="340" y="262"/>
                </a:lnTo>
                <a:lnTo>
                  <a:pt x="340" y="266"/>
                </a:lnTo>
                <a:lnTo>
                  <a:pt x="338" y="268"/>
                </a:lnTo>
                <a:lnTo>
                  <a:pt x="338" y="268"/>
                </a:lnTo>
                <a:close/>
                <a:moveTo>
                  <a:pt x="54" y="184"/>
                </a:moveTo>
                <a:lnTo>
                  <a:pt x="306" y="184"/>
                </a:lnTo>
                <a:lnTo>
                  <a:pt x="306" y="184"/>
                </a:lnTo>
                <a:lnTo>
                  <a:pt x="310" y="184"/>
                </a:lnTo>
                <a:lnTo>
                  <a:pt x="314" y="182"/>
                </a:lnTo>
                <a:lnTo>
                  <a:pt x="318" y="178"/>
                </a:lnTo>
                <a:lnTo>
                  <a:pt x="318" y="172"/>
                </a:lnTo>
                <a:lnTo>
                  <a:pt x="318" y="12"/>
                </a:lnTo>
                <a:lnTo>
                  <a:pt x="318" y="12"/>
                </a:lnTo>
                <a:lnTo>
                  <a:pt x="318" y="6"/>
                </a:lnTo>
                <a:lnTo>
                  <a:pt x="314" y="2"/>
                </a:lnTo>
                <a:lnTo>
                  <a:pt x="310" y="0"/>
                </a:lnTo>
                <a:lnTo>
                  <a:pt x="306" y="0"/>
                </a:lnTo>
                <a:lnTo>
                  <a:pt x="54" y="0"/>
                </a:lnTo>
                <a:lnTo>
                  <a:pt x="54" y="0"/>
                </a:lnTo>
                <a:lnTo>
                  <a:pt x="50" y="0"/>
                </a:lnTo>
                <a:lnTo>
                  <a:pt x="46" y="2"/>
                </a:lnTo>
                <a:lnTo>
                  <a:pt x="42" y="6"/>
                </a:lnTo>
                <a:lnTo>
                  <a:pt x="42" y="12"/>
                </a:lnTo>
                <a:lnTo>
                  <a:pt x="42" y="172"/>
                </a:lnTo>
                <a:lnTo>
                  <a:pt x="42" y="172"/>
                </a:lnTo>
                <a:lnTo>
                  <a:pt x="42" y="178"/>
                </a:lnTo>
                <a:lnTo>
                  <a:pt x="46" y="182"/>
                </a:lnTo>
                <a:lnTo>
                  <a:pt x="50" y="184"/>
                </a:lnTo>
                <a:lnTo>
                  <a:pt x="54" y="184"/>
                </a:lnTo>
                <a:lnTo>
                  <a:pt x="54" y="184"/>
                </a:lnTo>
                <a:close/>
                <a:moveTo>
                  <a:pt x="66" y="24"/>
                </a:moveTo>
                <a:lnTo>
                  <a:pt x="294" y="24"/>
                </a:lnTo>
                <a:lnTo>
                  <a:pt x="294" y="160"/>
                </a:lnTo>
                <a:lnTo>
                  <a:pt x="66" y="160"/>
                </a:lnTo>
                <a:lnTo>
                  <a:pt x="66" y="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935" tIns="41468" rIns="82935" bIns="41468" numCol="1" anchor="t" anchorCtr="0" compatLnSpc="1">
            <a:prstTxWarp prst="textNoShape">
              <a:avLst/>
            </a:prstTxWarp>
          </a:bodyPr>
          <a:lstStyle/>
          <a:p>
            <a:pPr defTabSz="924073">
              <a:defRPr/>
            </a:pPr>
            <a:endParaRPr lang="en-GB" sz="14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3" name="Title 1"/>
          <p:cNvSpPr txBox="1">
            <a:spLocks/>
          </p:cNvSpPr>
          <p:nvPr/>
        </p:nvSpPr>
        <p:spPr>
          <a:xfrm>
            <a:off x="498067" y="-437247"/>
            <a:ext cx="11476724" cy="1300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br>
              <a:rPr lang="en-GB" sz="3000" dirty="0"/>
            </a:br>
            <a:r>
              <a:rPr lang="hi-IN" sz="3000" i="0" dirty="0"/>
              <a:t>अधिकार अभिलेख सुधार प्रक्रिया से सम्बंधित यूजर</a:t>
            </a:r>
            <a:endParaRPr lang="en-US" sz="3000" i="0" dirty="0"/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1345542" y="76200"/>
            <a:ext cx="723296" cy="719768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74221" y="1219200"/>
            <a:ext cx="1067735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300000"/>
              </a:lnSpc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पटवारी 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300000"/>
              </a:lnSpc>
              <a:buFontTx/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तहसीलदार</a:t>
            </a:r>
            <a:endParaRPr lang="en-US" dirty="0"/>
          </a:p>
          <a:p>
            <a:pPr marL="342900" indent="-342900">
              <a:lnSpc>
                <a:spcPct val="300000"/>
              </a:lnSpc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कलेक्टर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3936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>
            <p:custDataLst>
              <p:tags r:id="rId1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" name="Group 9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64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5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62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3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6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7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8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9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0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1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1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0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4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2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4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9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38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3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4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32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7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5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26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1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 rot="900000">
            <a:off x="3890364" y="-1018707"/>
            <a:ext cx="8163092" cy="7895681"/>
            <a:chOff x="3258468" y="0"/>
            <a:chExt cx="7434932" cy="7191375"/>
          </a:xfrm>
        </p:grpSpPr>
        <p:sp>
          <p:nvSpPr>
            <p:cNvPr id="13" name="Rounded Rectangle 12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 rot="900000">
            <a:off x="3854501" y="-983138"/>
            <a:ext cx="8163092" cy="7895681"/>
            <a:chOff x="3258468" y="0"/>
            <a:chExt cx="7434932" cy="7191375"/>
          </a:xfrm>
        </p:grpSpPr>
        <p:sp>
          <p:nvSpPr>
            <p:cNvPr id="68" name="Rounded Rectangle 67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69" name="Rectangle 68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1" name="Rectangle 70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4648200" y="3014008"/>
            <a:ext cx="50186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300000"/>
              </a:lnSpc>
            </a:pPr>
            <a:r>
              <a:rPr lang="hi-IN" sz="4000" dirty="0">
                <a:solidFill>
                  <a:schemeClr val="bg1"/>
                </a:solidFill>
                <a:latin typeface="+mj-lt"/>
              </a:rPr>
              <a:t>पटवारी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30860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1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81000" y="152400"/>
            <a:ext cx="11476724" cy="6080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3000" i="0" dirty="0" err="1"/>
              <a:t>यूजर</a:t>
            </a:r>
            <a:r>
              <a:rPr lang="en-US" sz="3000" i="0" dirty="0"/>
              <a:t> </a:t>
            </a:r>
            <a:r>
              <a:rPr lang="en-US" sz="3000" i="0" dirty="0" err="1"/>
              <a:t>डैशबोर्ड</a:t>
            </a:r>
            <a:r>
              <a:rPr lang="en-US" sz="3000" i="0" dirty="0"/>
              <a:t> (</a:t>
            </a:r>
            <a:r>
              <a:rPr lang="hi-IN" sz="3000" i="0" dirty="0"/>
              <a:t>पटवारी यूजर </a:t>
            </a:r>
            <a:r>
              <a:rPr lang="en-US" sz="3000" i="0" dirty="0"/>
              <a:t>)</a:t>
            </a:r>
            <a:endParaRPr lang="en-GB" sz="3000" i="0" dirty="0"/>
          </a:p>
        </p:txBody>
      </p:sp>
      <p:sp>
        <p:nvSpPr>
          <p:cNvPr id="60" name="Rectangle 59"/>
          <p:cNvSpPr/>
          <p:nvPr/>
        </p:nvSpPr>
        <p:spPr>
          <a:xfrm>
            <a:off x="8991600" y="838200"/>
            <a:ext cx="3048000" cy="4750018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टवारी उपयोगकर्ता अपने वैद्य यूजर आई डी एवं पासवर्ड दर्ज कर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|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600" dirty="0" err="1">
                <a:latin typeface="Poppins" panose="00000500000000000000" pitchFamily="2" charset="0"/>
                <a:cs typeface="Poppins" panose="00000500000000000000" pitchFamily="2" charset="0"/>
              </a:rPr>
              <a:t>Captha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दर्ज करें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|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तत्पश्चात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OTP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विंडो प्रदर्शित होगी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|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६ अंको का मोबाइल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OTP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दर्ज करें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|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OK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बटन पर क्लिक करें |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endParaRPr lang="en-US" dirty="0"/>
          </a:p>
          <a:p>
            <a:pPr algn="just">
              <a:lnSpc>
                <a:spcPct val="150000"/>
              </a:lnSpc>
            </a:pPr>
            <a:endParaRPr lang="en-US" dirty="0"/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endParaRPr lang="en-US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319" y="838200"/>
            <a:ext cx="8402081" cy="502701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2954077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1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81000" y="152400"/>
            <a:ext cx="11476724" cy="6080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3000" i="0" dirty="0" err="1"/>
              <a:t>यूजर</a:t>
            </a:r>
            <a:r>
              <a:rPr lang="en-US" sz="3000" i="0" dirty="0"/>
              <a:t> </a:t>
            </a:r>
            <a:r>
              <a:rPr lang="en-US" sz="3000" i="0" dirty="0" err="1"/>
              <a:t>डैशबोर्ड</a:t>
            </a:r>
            <a:r>
              <a:rPr lang="en-US" sz="3000" i="0" dirty="0"/>
              <a:t> (</a:t>
            </a:r>
            <a:r>
              <a:rPr lang="hi-IN" sz="3000" i="0" dirty="0"/>
              <a:t>पटवारी यूजर </a:t>
            </a:r>
            <a:r>
              <a:rPr lang="en-US" sz="3000" i="0" dirty="0"/>
              <a:t>)</a:t>
            </a:r>
            <a:endParaRPr lang="en-GB" sz="3000" i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838199"/>
            <a:ext cx="8763000" cy="52624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0" name="Rectangle 59"/>
          <p:cNvSpPr/>
          <p:nvPr/>
        </p:nvSpPr>
        <p:spPr>
          <a:xfrm>
            <a:off x="9372600" y="838200"/>
            <a:ext cx="2666999" cy="5221301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1694" algn="just" eaLnBrk="0" hangingPunct="0">
              <a:buSzPct val="100000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पटवारी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अधिकार अभिलेख सुधार आइकॉन पर क्लिक करना होगा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694" algn="just" eaLnBrk="0" hangingPunct="0">
              <a:buSzPct val="100000"/>
            </a:pP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694" algn="just" eaLnBrk="0" hangingPunct="0">
              <a:buSzPct val="100000"/>
            </a:pPr>
            <a:endParaRPr lang="en-US" dirty="0"/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r>
              <a:rPr lang="hi-IN" dirty="0"/>
              <a:t> </a:t>
            </a:r>
            <a:endParaRPr lang="en-US" dirty="0"/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3792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457200" y="261257"/>
            <a:ext cx="9890759" cy="4810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hi-IN" sz="3000" b="1" dirty="0">
                <a:solidFill>
                  <a:schemeClr val="tx2"/>
                </a:solidFill>
                <a:latin typeface="+mj-lt"/>
              </a:rPr>
              <a:t>पटवारी यूजर द्वारा आवेदन प्रारम्भ करने की प्रक्रिया</a:t>
            </a:r>
            <a:endParaRPr lang="en-US" sz="30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296400" y="870857"/>
            <a:ext cx="2743200" cy="5180201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पटवारी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जिला, तहसील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और ग्राम का चयन करना होगा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"विवरण देखे" पर क्लिक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85321"/>
            <a:ext cx="8763000" cy="516573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8443329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33400" y="152400"/>
            <a:ext cx="9636033" cy="58987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hi-IN" sz="3000" b="1" dirty="0">
                <a:solidFill>
                  <a:schemeClr val="tx2"/>
                </a:solidFill>
                <a:latin typeface="+mj-lt"/>
              </a:rPr>
              <a:t>आदेश विवरण दर्ज करने की प्रक्रिया </a:t>
            </a:r>
            <a:endParaRPr lang="en-US" sz="30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667000" cy="5201424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पटवारी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प्रकरण क्रमांक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दर्ज करना होगा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टवारी यूजर को आदेश दिनांक एवं आदेशकर्ता का चयन करना होगा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आदेश की प्रति संलग्न करना होगा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ो "प्रकरण क्रमांक सेव करें" बटन पर क्लिक 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854" y="866120"/>
            <a:ext cx="8830546" cy="51735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2473620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533400" y="224135"/>
            <a:ext cx="11491964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i-IN" sz="3000" i="0" dirty="0"/>
              <a:t>ब्लॉक नंबर सुधार प्रक्रिया </a:t>
            </a:r>
            <a:endParaRPr lang="en-US" sz="3000" i="0" dirty="0"/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743200" cy="5262979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टवारी यूजर को त्रुटिपूर्ण ब्लॉक नंबर के विरुद्ध सही ब्लॉक नंबर का चयन करना होगा 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ो "जोड़े " बटन पर क्लिक 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े द्वारा ग्राम के समस्त त्रुटिपूर्ण ब्लॉक नंबर के विरुद्ध सही ब्लॉक नंबर का चयन करना आवश्यक होगा</a:t>
            </a:r>
            <a:r>
              <a:rPr lang="en-US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</p:txBody>
      </p:sp>
      <p:pic>
        <p:nvPicPr>
          <p:cNvPr id="60" name="Picture 59" descr="A screenshot of a computer">
            <a:extLst>
              <a:ext uri="{FF2B5EF4-FFF2-40B4-BE49-F238E27FC236}">
                <a16:creationId xmlns:a16="http://schemas.microsoft.com/office/drawing/2014/main" id="{DE9D5B1E-38A4-6465-FB71-F632F25FF1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838200"/>
            <a:ext cx="8839200" cy="52629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77980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OWPRESENTATIONDISCLAIMER" val="Yes"/>
  <p:tag name="SMARTSHAPETYPE" val="PresentationDisclaimer"/>
  <p:tag name="GRIDON" val="No"/>
  <p:tag name="SMARTTOCHYPERLINK" val="YES"/>
  <p:tag name="SHOW DRAFT STAMP" val="YES"/>
  <p:tag name="SHOWDISCLAIMERCLIENTNAME" val="No"/>
  <p:tag name="PAGINATIONSTART" val="Slide 1"/>
  <p:tag name="SMRTDOCUMENTTYPE" val="2"/>
  <p:tag name="DISABLE EXECUTIVE SUMMARY" val="YES"/>
  <p:tag name="HORIZONTALTOCTYPE" val="Header TOC"/>
  <p:tag name="INCLUDEINHORIZONTALTOC" val="Yes"/>
  <p:tag name="TOCSECTIONHEADERTEXT" val="Section"/>
  <p:tag name="SMARTTOCSTYLE" val="Standard Table of Contents"/>
  <p:tag name="SMARTTOCSLIDENUMBER" val="2"/>
  <p:tag name="CONFIDENTIALITY STAMP" val="Strictly Private and Confidential"/>
  <p:tag name="DRAFT STAMP" val="Draft"/>
  <p:tag name="ISSECTIONLAYOUTRENAMED" val="NO"/>
  <p:tag name="ISCOVERSLIDEINSERTED" val="NO"/>
  <p:tag name="BUSINESSUNITCOVERTEXT" val="www.pwc.in"/>
  <p:tag name="DIVIDERTOCSTYLE" val="Nonbulleted"/>
  <p:tag name="LASTSLIDEVIEWED" val="569,1,Slide3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Fixed Logo v.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Fixed Logo v.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Fixed Logo v.2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Confidentiality stamp Colour v.2"/>
  <p:tag name="SMARTREAD" val="{@Confidentiality stamp}"/>
  <p:tag name="SMARTWRITE" val="{@Confidentiality stamp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UNLOCK SHAPES" val="NO"/>
  <p:tag name="SMARTSLIDETYPE" val="Divider"/>
  <p:tag name="INCLUDEINHORIZONTALTOC" val="YES"/>
  <p:tag name="SMARTDIVIDERLEVEL" val="-1"/>
  <p:tag name="INCLUDEINPRIMARYTOC" val="YES"/>
  <p:tag name="INCLUDEINSECTIONTOC" val="YES"/>
  <p:tag name="SMARTDIVIDERTEXT" val="Section"/>
  <p:tag name="SMARTDIVIDERNUMBER" val="-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UNLOCK SHAPES" val="NO"/>
  <p:tag name="SMARTSLIDETYPE" val="Divider"/>
  <p:tag name="INCLUDEINHORIZONTALTOC" val="YES"/>
  <p:tag name="SMARTDIVIDERLEVEL" val="-1"/>
  <p:tag name="INCLUDEINPRIMARYTOC" val="YES"/>
  <p:tag name="INCLUDEINSECTIONTOC" val="YES"/>
  <p:tag name="SMARTDIVIDERTEXT" val="Section"/>
  <p:tag name="SMARTDIVIDERNUMBER" val="-1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heme/theme1.xml><?xml version="1.0" encoding="utf-8"?>
<a:theme xmlns:a="http://schemas.openxmlformats.org/drawingml/2006/main" name="1_PwC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Autofacts (widescreen)">
  <a:themeElements>
    <a:clrScheme name="Smart Report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7 Widescreen Template (16x9).potx" id="{679B62CA-2C24-4693-BF25-6F900D305794}" vid="{A8372841-39A3-4967-8027-60E4A9AE1C11}"/>
    </a:ext>
  </a:extLst>
</a:theme>
</file>

<file path=ppt/theme/theme3.xml><?xml version="1.0" encoding="utf-8"?>
<a:theme xmlns:a="http://schemas.openxmlformats.org/drawingml/2006/main" name="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Autofacts (widescreen)">
  <a:themeElements>
    <a:clrScheme name="Smart Report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7 Widescreen Template (16x9).potx" id="{679B62CA-2C24-4693-BF25-6F900D305794}" vid="{A8372841-39A3-4967-8027-60E4A9AE1C1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154</TotalTime>
  <Words>665</Words>
  <Application>Microsoft Office PowerPoint</Application>
  <PresentationFormat>Widescreen</PresentationFormat>
  <Paragraphs>244</Paragraphs>
  <Slides>26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  <vt:variant>
        <vt:lpstr>Custom Shows</vt:lpstr>
      </vt:variant>
      <vt:variant>
        <vt:i4>16</vt:i4>
      </vt:variant>
    </vt:vector>
  </HeadingPairs>
  <TitlesOfParts>
    <vt:vector size="57" baseType="lpstr">
      <vt:lpstr>Arial</vt:lpstr>
      <vt:lpstr>Book Antiqua</vt:lpstr>
      <vt:lpstr>Cambria Math</vt:lpstr>
      <vt:lpstr>Georgia</vt:lpstr>
      <vt:lpstr>inherit</vt:lpstr>
      <vt:lpstr>KPMG Extralight</vt:lpstr>
      <vt:lpstr>Poppins</vt:lpstr>
      <vt:lpstr>Segoe UI</vt:lpstr>
      <vt:lpstr>Times New Roman</vt:lpstr>
      <vt:lpstr>Wingdings</vt:lpstr>
      <vt:lpstr>1_PwC</vt:lpstr>
      <vt:lpstr>2_Autofacts (widescreen)</vt:lpstr>
      <vt:lpstr>Report</vt:lpstr>
      <vt:lpstr>Autofacts (widescreen)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rvice def - current</vt:lpstr>
      <vt:lpstr>Service def - GST</vt:lpstr>
      <vt:lpstr>Regn - ST</vt:lpstr>
      <vt:lpstr>Regn - GST</vt:lpstr>
      <vt:lpstr>POT - Services</vt:lpstr>
      <vt:lpstr>Loc of supplier or receiver</vt:lpstr>
      <vt:lpstr>ITC restriction - Works contract</vt:lpstr>
      <vt:lpstr>Exports and zero rated supply</vt:lpstr>
      <vt:lpstr>Advances</vt:lpstr>
      <vt:lpstr>Retention money</vt:lpstr>
      <vt:lpstr>GSTR1</vt:lpstr>
      <vt:lpstr>GSTR2</vt:lpstr>
      <vt:lpstr>GSTR3</vt:lpstr>
      <vt:lpstr>GSTR6</vt:lpstr>
      <vt:lpstr>GSTR7</vt:lpstr>
      <vt:lpstr>GSTR9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liance ppt</dc:title>
  <dc:creator>Admin</dc:creator>
  <cp:lastModifiedBy>pavan shrivastava</cp:lastModifiedBy>
  <cp:revision>2111</cp:revision>
  <cp:lastPrinted>2025-01-08T13:30:22Z</cp:lastPrinted>
  <dcterms:created xsi:type="dcterms:W3CDTF">2017-05-26T04:40:57Z</dcterms:created>
  <dcterms:modified xsi:type="dcterms:W3CDTF">2025-01-08T13:3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